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2" r:id="rId2"/>
    <p:sldMasterId id="2147483729" r:id="rId3"/>
    <p:sldMasterId id="2147483714" r:id="rId4"/>
    <p:sldMasterId id="2147483696" r:id="rId5"/>
  </p:sldMasterIdLst>
  <p:notesMasterIdLst>
    <p:notesMasterId r:id="rId20"/>
  </p:notesMasterIdLst>
  <p:sldIdLst>
    <p:sldId id="508" r:id="rId6"/>
    <p:sldId id="535" r:id="rId7"/>
    <p:sldId id="537" r:id="rId8"/>
    <p:sldId id="546" r:id="rId9"/>
    <p:sldId id="533" r:id="rId10"/>
    <p:sldId id="538" r:id="rId11"/>
    <p:sldId id="539" r:id="rId12"/>
    <p:sldId id="540" r:id="rId13"/>
    <p:sldId id="541" r:id="rId14"/>
    <p:sldId id="536" r:id="rId15"/>
    <p:sldId id="542" r:id="rId16"/>
    <p:sldId id="544" r:id="rId17"/>
    <p:sldId id="543" r:id="rId18"/>
    <p:sldId id="545" r:id="rId19"/>
  </p:sldIdLst>
  <p:sldSz cx="9906000" cy="6858000" type="A4"/>
  <p:notesSz cx="9926638" cy="14295438"/>
  <p:defaultTextStyle>
    <a:defPPr>
      <a:defRPr lang="en-US"/>
    </a:defPPr>
    <a:lvl1pPr marL="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3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0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33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9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65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33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A036A8"/>
    <a:srgbClr val="E06E6E"/>
    <a:srgbClr val="76C0D4"/>
    <a:srgbClr val="FFCC99"/>
    <a:srgbClr val="9F3793"/>
    <a:srgbClr val="9A34A2"/>
    <a:srgbClr val="C737B6"/>
    <a:srgbClr val="BDBD00"/>
    <a:srgbClr val="F5E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79" autoAdjust="0"/>
    <p:restoredTop sz="80427" autoAdjust="0"/>
  </p:normalViewPr>
  <p:slideViewPr>
    <p:cSldViewPr>
      <p:cViewPr varScale="1">
        <p:scale>
          <a:sx n="108" d="100"/>
          <a:sy n="108" d="100"/>
        </p:scale>
        <p:origin x="231" y="63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12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543" cy="714771"/>
          </a:xfrm>
          <a:prstGeom prst="rect">
            <a:avLst/>
          </a:prstGeom>
        </p:spPr>
        <p:txBody>
          <a:bodyPr vert="horz" lIns="132981" tIns="66491" rIns="132981" bIns="66491" rtlCol="0"/>
          <a:lstStyle>
            <a:lvl1pPr algn="l">
              <a:defRPr sz="17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1"/>
            <a:ext cx="4301543" cy="714771"/>
          </a:xfrm>
          <a:prstGeom prst="rect">
            <a:avLst/>
          </a:prstGeom>
        </p:spPr>
        <p:txBody>
          <a:bodyPr vert="horz" lIns="132981" tIns="66491" rIns="132981" bIns="66491" rtlCol="0"/>
          <a:lstStyle>
            <a:lvl1pPr algn="r">
              <a:defRPr sz="1700"/>
            </a:lvl1pPr>
          </a:lstStyle>
          <a:p>
            <a:fld id="{F3B326B0-C25B-48A7-829F-97E4A02DFFEB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2200" y="1073150"/>
            <a:ext cx="7742238" cy="5359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981" tIns="66491" rIns="132981" bIns="66491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6790333"/>
            <a:ext cx="7941310" cy="6432948"/>
          </a:xfrm>
          <a:prstGeom prst="rect">
            <a:avLst/>
          </a:prstGeom>
        </p:spPr>
        <p:txBody>
          <a:bodyPr vert="horz" lIns="132981" tIns="66491" rIns="132981" bIns="66491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3578186"/>
            <a:ext cx="4301543" cy="714771"/>
          </a:xfrm>
          <a:prstGeom prst="rect">
            <a:avLst/>
          </a:prstGeom>
        </p:spPr>
        <p:txBody>
          <a:bodyPr vert="horz" lIns="132981" tIns="66491" rIns="132981" bIns="66491" rtlCol="0" anchor="b"/>
          <a:lstStyle>
            <a:lvl1pPr algn="l">
              <a:defRPr sz="17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13578186"/>
            <a:ext cx="4301543" cy="714771"/>
          </a:xfrm>
          <a:prstGeom prst="rect">
            <a:avLst/>
          </a:prstGeom>
        </p:spPr>
        <p:txBody>
          <a:bodyPr vert="horz" lIns="132981" tIns="66491" rIns="132981" bIns="66491" rtlCol="0" anchor="b"/>
          <a:lstStyle>
            <a:lvl1pPr algn="r">
              <a:defRPr sz="1700"/>
            </a:lvl1pPr>
          </a:lstStyle>
          <a:p>
            <a:fld id="{CD5C46B6-A713-4F23-A3E6-0F32622CAF9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682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5C46B6-A713-4F23-A3E6-0F32622CAF98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3435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13.png"/><Relationship Id="rId4" Type="http://schemas.openxmlformats.org/officeDocument/2006/relationships/tags" Target="../tags/tag21.xml"/><Relationship Id="rId9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New add\corp introduction PPT\底图-黑白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42"/>
            <a:ext cx="9906000" cy="6618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5306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5" descr="D:\shelly\identity\Logo\最新\logo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671513"/>
            <a:ext cx="3249613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736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66600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1978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>
            <a:lvl1pPr>
              <a:defRPr sz="4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6777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1610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2386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53540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24527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25936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58959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7091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1828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0155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57503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4631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3B78C6B2-58D5-4951-8B05-91EBB40562E1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D7D6B1CB-05E3-4D9A-8140-3F7AFAE92E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4181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85430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905000"/>
            <a:ext cx="8915400" cy="42211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0306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62019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523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798638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438399"/>
            <a:ext cx="4376738" cy="36877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798638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438399"/>
            <a:ext cx="4378325" cy="36877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190522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019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82332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9769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981200"/>
            <a:ext cx="3259138" cy="7620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1981200"/>
            <a:ext cx="5537200" cy="414496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2743200"/>
            <a:ext cx="3259138" cy="3382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6700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5181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1447800"/>
            <a:ext cx="5943600" cy="3733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748338"/>
            <a:ext cx="5943600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87372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3904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1524000"/>
            <a:ext cx="2228850" cy="4602163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524000"/>
            <a:ext cx="6534150" cy="46021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59634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accent5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Freeform 6"/>
          <p:cNvSpPr/>
          <p:nvPr userDrawn="1"/>
        </p:nvSpPr>
        <p:spPr>
          <a:xfrm>
            <a:off x="6249145" y="4539916"/>
            <a:ext cx="2982411" cy="1760698"/>
          </a:xfrm>
          <a:custGeom>
            <a:avLst/>
            <a:gdLst>
              <a:gd name="connsiteX0" fmla="*/ 355263 w 711743"/>
              <a:gd name="connsiteY0" fmla="*/ 17 h 431038"/>
              <a:gd name="connsiteX1" fmla="*/ 299634 w 711743"/>
              <a:gd name="connsiteY1" fmla="*/ 76507 h 431038"/>
              <a:gd name="connsiteX2" fmla="*/ 115363 w 711743"/>
              <a:gd name="connsiteY2" fmla="*/ 114752 h 431038"/>
              <a:gd name="connsiteX3" fmla="*/ 21489 w 711743"/>
              <a:gd name="connsiteY3" fmla="*/ 170380 h 431038"/>
              <a:gd name="connsiteX4" fmla="*/ 4105 w 711743"/>
              <a:gd name="connsiteY4" fmla="*/ 274685 h 431038"/>
              <a:gd name="connsiteX5" fmla="*/ 80595 w 711743"/>
              <a:gd name="connsiteY5" fmla="*/ 354651 h 431038"/>
              <a:gd name="connsiteX6" fmla="*/ 170992 w 711743"/>
              <a:gd name="connsiteY6" fmla="*/ 368558 h 431038"/>
              <a:gd name="connsiteX7" fmla="*/ 233574 w 711743"/>
              <a:gd name="connsiteY7" fmla="*/ 347698 h 431038"/>
              <a:gd name="connsiteX8" fmla="*/ 268342 w 711743"/>
              <a:gd name="connsiteY8" fmla="*/ 326837 h 431038"/>
              <a:gd name="connsiteX9" fmla="*/ 306587 w 711743"/>
              <a:gd name="connsiteY9" fmla="*/ 305976 h 431038"/>
              <a:gd name="connsiteX10" fmla="*/ 254435 w 711743"/>
              <a:gd name="connsiteY10" fmla="*/ 375512 h 431038"/>
              <a:gd name="connsiteX11" fmla="*/ 139701 w 711743"/>
              <a:gd name="connsiteY11" fmla="*/ 427664 h 431038"/>
              <a:gd name="connsiteX12" fmla="*/ 539533 w 711743"/>
              <a:gd name="connsiteY12" fmla="*/ 424187 h 431038"/>
              <a:gd name="connsiteX13" fmla="*/ 515196 w 711743"/>
              <a:gd name="connsiteY13" fmla="*/ 410280 h 431038"/>
              <a:gd name="connsiteX14" fmla="*/ 445660 w 711743"/>
              <a:gd name="connsiteY14" fmla="*/ 365082 h 431038"/>
              <a:gd name="connsiteX15" fmla="*/ 410891 w 711743"/>
              <a:gd name="connsiteY15" fmla="*/ 295545 h 431038"/>
              <a:gd name="connsiteX16" fmla="*/ 480428 w 711743"/>
              <a:gd name="connsiteY16" fmla="*/ 351174 h 431038"/>
              <a:gd name="connsiteX17" fmla="*/ 567348 w 711743"/>
              <a:gd name="connsiteY17" fmla="*/ 365082 h 431038"/>
              <a:gd name="connsiteX18" fmla="*/ 643837 w 711743"/>
              <a:gd name="connsiteY18" fmla="*/ 344221 h 431038"/>
              <a:gd name="connsiteX19" fmla="*/ 702943 w 711743"/>
              <a:gd name="connsiteY19" fmla="*/ 281638 h 431038"/>
              <a:gd name="connsiteX20" fmla="*/ 706420 w 711743"/>
              <a:gd name="connsiteY20" fmla="*/ 198195 h 431038"/>
              <a:gd name="connsiteX21" fmla="*/ 654268 w 711743"/>
              <a:gd name="connsiteY21" fmla="*/ 139089 h 431038"/>
              <a:gd name="connsiteX22" fmla="*/ 546487 w 711743"/>
              <a:gd name="connsiteY22" fmla="*/ 97367 h 431038"/>
              <a:gd name="connsiteX23" fmla="*/ 421322 w 711743"/>
              <a:gd name="connsiteY23" fmla="*/ 69553 h 431038"/>
              <a:gd name="connsiteX24" fmla="*/ 355263 w 711743"/>
              <a:gd name="connsiteY24" fmla="*/ 17 h 431038"/>
              <a:gd name="connsiteX0" fmla="*/ 539533 w 711743"/>
              <a:gd name="connsiteY0" fmla="*/ 424187 h 443571"/>
              <a:gd name="connsiteX1" fmla="*/ 515196 w 711743"/>
              <a:gd name="connsiteY1" fmla="*/ 410280 h 443571"/>
              <a:gd name="connsiteX2" fmla="*/ 445660 w 711743"/>
              <a:gd name="connsiteY2" fmla="*/ 365082 h 443571"/>
              <a:gd name="connsiteX3" fmla="*/ 410891 w 711743"/>
              <a:gd name="connsiteY3" fmla="*/ 295545 h 443571"/>
              <a:gd name="connsiteX4" fmla="*/ 480428 w 711743"/>
              <a:gd name="connsiteY4" fmla="*/ 351174 h 443571"/>
              <a:gd name="connsiteX5" fmla="*/ 567348 w 711743"/>
              <a:gd name="connsiteY5" fmla="*/ 365082 h 443571"/>
              <a:gd name="connsiteX6" fmla="*/ 643837 w 711743"/>
              <a:gd name="connsiteY6" fmla="*/ 344221 h 443571"/>
              <a:gd name="connsiteX7" fmla="*/ 702943 w 711743"/>
              <a:gd name="connsiteY7" fmla="*/ 281638 h 443571"/>
              <a:gd name="connsiteX8" fmla="*/ 706420 w 711743"/>
              <a:gd name="connsiteY8" fmla="*/ 198195 h 443571"/>
              <a:gd name="connsiteX9" fmla="*/ 654268 w 711743"/>
              <a:gd name="connsiteY9" fmla="*/ 139089 h 443571"/>
              <a:gd name="connsiteX10" fmla="*/ 546487 w 711743"/>
              <a:gd name="connsiteY10" fmla="*/ 97367 h 443571"/>
              <a:gd name="connsiteX11" fmla="*/ 421322 w 711743"/>
              <a:gd name="connsiteY11" fmla="*/ 69553 h 443571"/>
              <a:gd name="connsiteX12" fmla="*/ 355263 w 711743"/>
              <a:gd name="connsiteY12" fmla="*/ 17 h 443571"/>
              <a:gd name="connsiteX13" fmla="*/ 299634 w 711743"/>
              <a:gd name="connsiteY13" fmla="*/ 76507 h 443571"/>
              <a:gd name="connsiteX14" fmla="*/ 115363 w 711743"/>
              <a:gd name="connsiteY14" fmla="*/ 114752 h 443571"/>
              <a:gd name="connsiteX15" fmla="*/ 21489 w 711743"/>
              <a:gd name="connsiteY15" fmla="*/ 170380 h 443571"/>
              <a:gd name="connsiteX16" fmla="*/ 4105 w 711743"/>
              <a:gd name="connsiteY16" fmla="*/ 274685 h 443571"/>
              <a:gd name="connsiteX17" fmla="*/ 80595 w 711743"/>
              <a:gd name="connsiteY17" fmla="*/ 354651 h 443571"/>
              <a:gd name="connsiteX18" fmla="*/ 170992 w 711743"/>
              <a:gd name="connsiteY18" fmla="*/ 368558 h 443571"/>
              <a:gd name="connsiteX19" fmla="*/ 233574 w 711743"/>
              <a:gd name="connsiteY19" fmla="*/ 347698 h 443571"/>
              <a:gd name="connsiteX20" fmla="*/ 268342 w 711743"/>
              <a:gd name="connsiteY20" fmla="*/ 326837 h 443571"/>
              <a:gd name="connsiteX21" fmla="*/ 306587 w 711743"/>
              <a:gd name="connsiteY21" fmla="*/ 305976 h 443571"/>
              <a:gd name="connsiteX22" fmla="*/ 254435 w 711743"/>
              <a:gd name="connsiteY22" fmla="*/ 375512 h 443571"/>
              <a:gd name="connsiteX23" fmla="*/ 139701 w 711743"/>
              <a:gd name="connsiteY23" fmla="*/ 427664 h 443571"/>
              <a:gd name="connsiteX24" fmla="*/ 558917 w 711743"/>
              <a:gd name="connsiteY24" fmla="*/ 443571 h 443571"/>
              <a:gd name="connsiteX0" fmla="*/ 539533 w 711743"/>
              <a:gd name="connsiteY0" fmla="*/ 424187 h 438470"/>
              <a:gd name="connsiteX1" fmla="*/ 515196 w 711743"/>
              <a:gd name="connsiteY1" fmla="*/ 410280 h 438470"/>
              <a:gd name="connsiteX2" fmla="*/ 445660 w 711743"/>
              <a:gd name="connsiteY2" fmla="*/ 365082 h 438470"/>
              <a:gd name="connsiteX3" fmla="*/ 410891 w 711743"/>
              <a:gd name="connsiteY3" fmla="*/ 295545 h 438470"/>
              <a:gd name="connsiteX4" fmla="*/ 480428 w 711743"/>
              <a:gd name="connsiteY4" fmla="*/ 351174 h 438470"/>
              <a:gd name="connsiteX5" fmla="*/ 567348 w 711743"/>
              <a:gd name="connsiteY5" fmla="*/ 365082 h 438470"/>
              <a:gd name="connsiteX6" fmla="*/ 643837 w 711743"/>
              <a:gd name="connsiteY6" fmla="*/ 344221 h 438470"/>
              <a:gd name="connsiteX7" fmla="*/ 702943 w 711743"/>
              <a:gd name="connsiteY7" fmla="*/ 281638 h 438470"/>
              <a:gd name="connsiteX8" fmla="*/ 706420 w 711743"/>
              <a:gd name="connsiteY8" fmla="*/ 198195 h 438470"/>
              <a:gd name="connsiteX9" fmla="*/ 654268 w 711743"/>
              <a:gd name="connsiteY9" fmla="*/ 139089 h 438470"/>
              <a:gd name="connsiteX10" fmla="*/ 546487 w 711743"/>
              <a:gd name="connsiteY10" fmla="*/ 97367 h 438470"/>
              <a:gd name="connsiteX11" fmla="*/ 421322 w 711743"/>
              <a:gd name="connsiteY11" fmla="*/ 69553 h 438470"/>
              <a:gd name="connsiteX12" fmla="*/ 355263 w 711743"/>
              <a:gd name="connsiteY12" fmla="*/ 17 h 438470"/>
              <a:gd name="connsiteX13" fmla="*/ 299634 w 711743"/>
              <a:gd name="connsiteY13" fmla="*/ 76507 h 438470"/>
              <a:gd name="connsiteX14" fmla="*/ 115363 w 711743"/>
              <a:gd name="connsiteY14" fmla="*/ 114752 h 438470"/>
              <a:gd name="connsiteX15" fmla="*/ 21489 w 711743"/>
              <a:gd name="connsiteY15" fmla="*/ 170380 h 438470"/>
              <a:gd name="connsiteX16" fmla="*/ 4105 w 711743"/>
              <a:gd name="connsiteY16" fmla="*/ 274685 h 438470"/>
              <a:gd name="connsiteX17" fmla="*/ 80595 w 711743"/>
              <a:gd name="connsiteY17" fmla="*/ 354651 h 438470"/>
              <a:gd name="connsiteX18" fmla="*/ 170992 w 711743"/>
              <a:gd name="connsiteY18" fmla="*/ 368558 h 438470"/>
              <a:gd name="connsiteX19" fmla="*/ 233574 w 711743"/>
              <a:gd name="connsiteY19" fmla="*/ 347698 h 438470"/>
              <a:gd name="connsiteX20" fmla="*/ 268342 w 711743"/>
              <a:gd name="connsiteY20" fmla="*/ 326837 h 438470"/>
              <a:gd name="connsiteX21" fmla="*/ 306587 w 711743"/>
              <a:gd name="connsiteY21" fmla="*/ 305976 h 438470"/>
              <a:gd name="connsiteX22" fmla="*/ 254435 w 711743"/>
              <a:gd name="connsiteY22" fmla="*/ 375512 h 438470"/>
              <a:gd name="connsiteX23" fmla="*/ 139701 w 711743"/>
              <a:gd name="connsiteY23" fmla="*/ 427664 h 438470"/>
              <a:gd name="connsiteX24" fmla="*/ 223954 w 711743"/>
              <a:gd name="connsiteY24" fmla="*/ 438470 h 438470"/>
              <a:gd name="connsiteX0" fmla="*/ 539533 w 711743"/>
              <a:gd name="connsiteY0" fmla="*/ 424187 h 427664"/>
              <a:gd name="connsiteX1" fmla="*/ 515196 w 711743"/>
              <a:gd name="connsiteY1" fmla="*/ 410280 h 427664"/>
              <a:gd name="connsiteX2" fmla="*/ 445660 w 711743"/>
              <a:gd name="connsiteY2" fmla="*/ 365082 h 427664"/>
              <a:gd name="connsiteX3" fmla="*/ 410891 w 711743"/>
              <a:gd name="connsiteY3" fmla="*/ 295545 h 427664"/>
              <a:gd name="connsiteX4" fmla="*/ 480428 w 711743"/>
              <a:gd name="connsiteY4" fmla="*/ 351174 h 427664"/>
              <a:gd name="connsiteX5" fmla="*/ 567348 w 711743"/>
              <a:gd name="connsiteY5" fmla="*/ 365082 h 427664"/>
              <a:gd name="connsiteX6" fmla="*/ 643837 w 711743"/>
              <a:gd name="connsiteY6" fmla="*/ 344221 h 427664"/>
              <a:gd name="connsiteX7" fmla="*/ 702943 w 711743"/>
              <a:gd name="connsiteY7" fmla="*/ 281638 h 427664"/>
              <a:gd name="connsiteX8" fmla="*/ 706420 w 711743"/>
              <a:gd name="connsiteY8" fmla="*/ 198195 h 427664"/>
              <a:gd name="connsiteX9" fmla="*/ 654268 w 711743"/>
              <a:gd name="connsiteY9" fmla="*/ 139089 h 427664"/>
              <a:gd name="connsiteX10" fmla="*/ 546487 w 711743"/>
              <a:gd name="connsiteY10" fmla="*/ 97367 h 427664"/>
              <a:gd name="connsiteX11" fmla="*/ 421322 w 711743"/>
              <a:gd name="connsiteY11" fmla="*/ 69553 h 427664"/>
              <a:gd name="connsiteX12" fmla="*/ 355263 w 711743"/>
              <a:gd name="connsiteY12" fmla="*/ 17 h 427664"/>
              <a:gd name="connsiteX13" fmla="*/ 299634 w 711743"/>
              <a:gd name="connsiteY13" fmla="*/ 76507 h 427664"/>
              <a:gd name="connsiteX14" fmla="*/ 115363 w 711743"/>
              <a:gd name="connsiteY14" fmla="*/ 114752 h 427664"/>
              <a:gd name="connsiteX15" fmla="*/ 21489 w 711743"/>
              <a:gd name="connsiteY15" fmla="*/ 170380 h 427664"/>
              <a:gd name="connsiteX16" fmla="*/ 4105 w 711743"/>
              <a:gd name="connsiteY16" fmla="*/ 274685 h 427664"/>
              <a:gd name="connsiteX17" fmla="*/ 80595 w 711743"/>
              <a:gd name="connsiteY17" fmla="*/ 354651 h 427664"/>
              <a:gd name="connsiteX18" fmla="*/ 170992 w 711743"/>
              <a:gd name="connsiteY18" fmla="*/ 368558 h 427664"/>
              <a:gd name="connsiteX19" fmla="*/ 233574 w 711743"/>
              <a:gd name="connsiteY19" fmla="*/ 347698 h 427664"/>
              <a:gd name="connsiteX20" fmla="*/ 268342 w 711743"/>
              <a:gd name="connsiteY20" fmla="*/ 326837 h 427664"/>
              <a:gd name="connsiteX21" fmla="*/ 306587 w 711743"/>
              <a:gd name="connsiteY21" fmla="*/ 305976 h 427664"/>
              <a:gd name="connsiteX22" fmla="*/ 254435 w 711743"/>
              <a:gd name="connsiteY22" fmla="*/ 375512 h 427664"/>
              <a:gd name="connsiteX23" fmla="*/ 139701 w 711743"/>
              <a:gd name="connsiteY23" fmla="*/ 427664 h 427664"/>
              <a:gd name="connsiteX0" fmla="*/ 539533 w 711743"/>
              <a:gd name="connsiteY0" fmla="*/ 424187 h 424187"/>
              <a:gd name="connsiteX1" fmla="*/ 515196 w 711743"/>
              <a:gd name="connsiteY1" fmla="*/ 410280 h 424187"/>
              <a:gd name="connsiteX2" fmla="*/ 445660 w 711743"/>
              <a:gd name="connsiteY2" fmla="*/ 365082 h 424187"/>
              <a:gd name="connsiteX3" fmla="*/ 410891 w 711743"/>
              <a:gd name="connsiteY3" fmla="*/ 295545 h 424187"/>
              <a:gd name="connsiteX4" fmla="*/ 480428 w 711743"/>
              <a:gd name="connsiteY4" fmla="*/ 351174 h 424187"/>
              <a:gd name="connsiteX5" fmla="*/ 567348 w 711743"/>
              <a:gd name="connsiteY5" fmla="*/ 365082 h 424187"/>
              <a:gd name="connsiteX6" fmla="*/ 643837 w 711743"/>
              <a:gd name="connsiteY6" fmla="*/ 344221 h 424187"/>
              <a:gd name="connsiteX7" fmla="*/ 702943 w 711743"/>
              <a:gd name="connsiteY7" fmla="*/ 281638 h 424187"/>
              <a:gd name="connsiteX8" fmla="*/ 706420 w 711743"/>
              <a:gd name="connsiteY8" fmla="*/ 198195 h 424187"/>
              <a:gd name="connsiteX9" fmla="*/ 654268 w 711743"/>
              <a:gd name="connsiteY9" fmla="*/ 139089 h 424187"/>
              <a:gd name="connsiteX10" fmla="*/ 546487 w 711743"/>
              <a:gd name="connsiteY10" fmla="*/ 97367 h 424187"/>
              <a:gd name="connsiteX11" fmla="*/ 421322 w 711743"/>
              <a:gd name="connsiteY11" fmla="*/ 69553 h 424187"/>
              <a:gd name="connsiteX12" fmla="*/ 355263 w 711743"/>
              <a:gd name="connsiteY12" fmla="*/ 17 h 424187"/>
              <a:gd name="connsiteX13" fmla="*/ 299634 w 711743"/>
              <a:gd name="connsiteY13" fmla="*/ 76507 h 424187"/>
              <a:gd name="connsiteX14" fmla="*/ 115363 w 711743"/>
              <a:gd name="connsiteY14" fmla="*/ 114752 h 424187"/>
              <a:gd name="connsiteX15" fmla="*/ 21489 w 711743"/>
              <a:gd name="connsiteY15" fmla="*/ 170380 h 424187"/>
              <a:gd name="connsiteX16" fmla="*/ 4105 w 711743"/>
              <a:gd name="connsiteY16" fmla="*/ 274685 h 424187"/>
              <a:gd name="connsiteX17" fmla="*/ 80595 w 711743"/>
              <a:gd name="connsiteY17" fmla="*/ 354651 h 424187"/>
              <a:gd name="connsiteX18" fmla="*/ 170992 w 711743"/>
              <a:gd name="connsiteY18" fmla="*/ 368558 h 424187"/>
              <a:gd name="connsiteX19" fmla="*/ 233574 w 711743"/>
              <a:gd name="connsiteY19" fmla="*/ 347698 h 424187"/>
              <a:gd name="connsiteX20" fmla="*/ 268342 w 711743"/>
              <a:gd name="connsiteY20" fmla="*/ 326837 h 424187"/>
              <a:gd name="connsiteX21" fmla="*/ 306587 w 711743"/>
              <a:gd name="connsiteY21" fmla="*/ 305976 h 424187"/>
              <a:gd name="connsiteX22" fmla="*/ 254435 w 711743"/>
              <a:gd name="connsiteY22" fmla="*/ 375512 h 424187"/>
              <a:gd name="connsiteX23" fmla="*/ 189010 w 711743"/>
              <a:gd name="connsiteY23" fmla="*/ 410661 h 424187"/>
              <a:gd name="connsiteX0" fmla="*/ 539533 w 711743"/>
              <a:gd name="connsiteY0" fmla="*/ 424187 h 424187"/>
              <a:gd name="connsiteX1" fmla="*/ 515196 w 711743"/>
              <a:gd name="connsiteY1" fmla="*/ 410280 h 424187"/>
              <a:gd name="connsiteX2" fmla="*/ 445660 w 711743"/>
              <a:gd name="connsiteY2" fmla="*/ 365082 h 424187"/>
              <a:gd name="connsiteX3" fmla="*/ 410891 w 711743"/>
              <a:gd name="connsiteY3" fmla="*/ 295545 h 424187"/>
              <a:gd name="connsiteX4" fmla="*/ 480428 w 711743"/>
              <a:gd name="connsiteY4" fmla="*/ 351174 h 424187"/>
              <a:gd name="connsiteX5" fmla="*/ 567348 w 711743"/>
              <a:gd name="connsiteY5" fmla="*/ 365082 h 424187"/>
              <a:gd name="connsiteX6" fmla="*/ 643837 w 711743"/>
              <a:gd name="connsiteY6" fmla="*/ 344221 h 424187"/>
              <a:gd name="connsiteX7" fmla="*/ 702943 w 711743"/>
              <a:gd name="connsiteY7" fmla="*/ 281638 h 424187"/>
              <a:gd name="connsiteX8" fmla="*/ 706420 w 711743"/>
              <a:gd name="connsiteY8" fmla="*/ 198195 h 424187"/>
              <a:gd name="connsiteX9" fmla="*/ 654268 w 711743"/>
              <a:gd name="connsiteY9" fmla="*/ 139089 h 424187"/>
              <a:gd name="connsiteX10" fmla="*/ 546487 w 711743"/>
              <a:gd name="connsiteY10" fmla="*/ 97367 h 424187"/>
              <a:gd name="connsiteX11" fmla="*/ 421322 w 711743"/>
              <a:gd name="connsiteY11" fmla="*/ 69553 h 424187"/>
              <a:gd name="connsiteX12" fmla="*/ 355263 w 711743"/>
              <a:gd name="connsiteY12" fmla="*/ 17 h 424187"/>
              <a:gd name="connsiteX13" fmla="*/ 299634 w 711743"/>
              <a:gd name="connsiteY13" fmla="*/ 76507 h 424187"/>
              <a:gd name="connsiteX14" fmla="*/ 115363 w 711743"/>
              <a:gd name="connsiteY14" fmla="*/ 114752 h 424187"/>
              <a:gd name="connsiteX15" fmla="*/ 21489 w 711743"/>
              <a:gd name="connsiteY15" fmla="*/ 170380 h 424187"/>
              <a:gd name="connsiteX16" fmla="*/ 4105 w 711743"/>
              <a:gd name="connsiteY16" fmla="*/ 274685 h 424187"/>
              <a:gd name="connsiteX17" fmla="*/ 80595 w 711743"/>
              <a:gd name="connsiteY17" fmla="*/ 354651 h 424187"/>
              <a:gd name="connsiteX18" fmla="*/ 170992 w 711743"/>
              <a:gd name="connsiteY18" fmla="*/ 368558 h 424187"/>
              <a:gd name="connsiteX19" fmla="*/ 233574 w 711743"/>
              <a:gd name="connsiteY19" fmla="*/ 347698 h 424187"/>
              <a:gd name="connsiteX20" fmla="*/ 268342 w 711743"/>
              <a:gd name="connsiteY20" fmla="*/ 326837 h 424187"/>
              <a:gd name="connsiteX21" fmla="*/ 306587 w 711743"/>
              <a:gd name="connsiteY21" fmla="*/ 305976 h 424187"/>
              <a:gd name="connsiteX22" fmla="*/ 254435 w 711743"/>
              <a:gd name="connsiteY22" fmla="*/ 375512 h 424187"/>
              <a:gd name="connsiteX23" fmla="*/ 189010 w 711743"/>
              <a:gd name="connsiteY23" fmla="*/ 410661 h 424187"/>
              <a:gd name="connsiteX0" fmla="*/ 672158 w 711743"/>
              <a:gd name="connsiteY0" fmla="*/ 407184 h 412386"/>
              <a:gd name="connsiteX1" fmla="*/ 515196 w 711743"/>
              <a:gd name="connsiteY1" fmla="*/ 410280 h 412386"/>
              <a:gd name="connsiteX2" fmla="*/ 445660 w 711743"/>
              <a:gd name="connsiteY2" fmla="*/ 365082 h 412386"/>
              <a:gd name="connsiteX3" fmla="*/ 410891 w 711743"/>
              <a:gd name="connsiteY3" fmla="*/ 295545 h 412386"/>
              <a:gd name="connsiteX4" fmla="*/ 480428 w 711743"/>
              <a:gd name="connsiteY4" fmla="*/ 351174 h 412386"/>
              <a:gd name="connsiteX5" fmla="*/ 567348 w 711743"/>
              <a:gd name="connsiteY5" fmla="*/ 365082 h 412386"/>
              <a:gd name="connsiteX6" fmla="*/ 643837 w 711743"/>
              <a:gd name="connsiteY6" fmla="*/ 344221 h 412386"/>
              <a:gd name="connsiteX7" fmla="*/ 702943 w 711743"/>
              <a:gd name="connsiteY7" fmla="*/ 281638 h 412386"/>
              <a:gd name="connsiteX8" fmla="*/ 706420 w 711743"/>
              <a:gd name="connsiteY8" fmla="*/ 198195 h 412386"/>
              <a:gd name="connsiteX9" fmla="*/ 654268 w 711743"/>
              <a:gd name="connsiteY9" fmla="*/ 139089 h 412386"/>
              <a:gd name="connsiteX10" fmla="*/ 546487 w 711743"/>
              <a:gd name="connsiteY10" fmla="*/ 97367 h 412386"/>
              <a:gd name="connsiteX11" fmla="*/ 421322 w 711743"/>
              <a:gd name="connsiteY11" fmla="*/ 69553 h 412386"/>
              <a:gd name="connsiteX12" fmla="*/ 355263 w 711743"/>
              <a:gd name="connsiteY12" fmla="*/ 17 h 412386"/>
              <a:gd name="connsiteX13" fmla="*/ 299634 w 711743"/>
              <a:gd name="connsiteY13" fmla="*/ 76507 h 412386"/>
              <a:gd name="connsiteX14" fmla="*/ 115363 w 711743"/>
              <a:gd name="connsiteY14" fmla="*/ 114752 h 412386"/>
              <a:gd name="connsiteX15" fmla="*/ 21489 w 711743"/>
              <a:gd name="connsiteY15" fmla="*/ 170380 h 412386"/>
              <a:gd name="connsiteX16" fmla="*/ 4105 w 711743"/>
              <a:gd name="connsiteY16" fmla="*/ 274685 h 412386"/>
              <a:gd name="connsiteX17" fmla="*/ 80595 w 711743"/>
              <a:gd name="connsiteY17" fmla="*/ 354651 h 412386"/>
              <a:gd name="connsiteX18" fmla="*/ 170992 w 711743"/>
              <a:gd name="connsiteY18" fmla="*/ 368558 h 412386"/>
              <a:gd name="connsiteX19" fmla="*/ 233574 w 711743"/>
              <a:gd name="connsiteY19" fmla="*/ 347698 h 412386"/>
              <a:gd name="connsiteX20" fmla="*/ 268342 w 711743"/>
              <a:gd name="connsiteY20" fmla="*/ 326837 h 412386"/>
              <a:gd name="connsiteX21" fmla="*/ 306587 w 711743"/>
              <a:gd name="connsiteY21" fmla="*/ 305976 h 412386"/>
              <a:gd name="connsiteX22" fmla="*/ 254435 w 711743"/>
              <a:gd name="connsiteY22" fmla="*/ 375512 h 412386"/>
              <a:gd name="connsiteX23" fmla="*/ 189010 w 711743"/>
              <a:gd name="connsiteY23" fmla="*/ 410661 h 412386"/>
              <a:gd name="connsiteX0" fmla="*/ 672158 w 711743"/>
              <a:gd name="connsiteY0" fmla="*/ 407184 h 414325"/>
              <a:gd name="connsiteX1" fmla="*/ 515196 w 711743"/>
              <a:gd name="connsiteY1" fmla="*/ 410280 h 414325"/>
              <a:gd name="connsiteX2" fmla="*/ 445660 w 711743"/>
              <a:gd name="connsiteY2" fmla="*/ 365082 h 414325"/>
              <a:gd name="connsiteX3" fmla="*/ 410891 w 711743"/>
              <a:gd name="connsiteY3" fmla="*/ 295545 h 414325"/>
              <a:gd name="connsiteX4" fmla="*/ 480428 w 711743"/>
              <a:gd name="connsiteY4" fmla="*/ 351174 h 414325"/>
              <a:gd name="connsiteX5" fmla="*/ 567348 w 711743"/>
              <a:gd name="connsiteY5" fmla="*/ 365082 h 414325"/>
              <a:gd name="connsiteX6" fmla="*/ 643837 w 711743"/>
              <a:gd name="connsiteY6" fmla="*/ 344221 h 414325"/>
              <a:gd name="connsiteX7" fmla="*/ 702943 w 711743"/>
              <a:gd name="connsiteY7" fmla="*/ 281638 h 414325"/>
              <a:gd name="connsiteX8" fmla="*/ 706420 w 711743"/>
              <a:gd name="connsiteY8" fmla="*/ 198195 h 414325"/>
              <a:gd name="connsiteX9" fmla="*/ 654268 w 711743"/>
              <a:gd name="connsiteY9" fmla="*/ 139089 h 414325"/>
              <a:gd name="connsiteX10" fmla="*/ 546487 w 711743"/>
              <a:gd name="connsiteY10" fmla="*/ 97367 h 414325"/>
              <a:gd name="connsiteX11" fmla="*/ 421322 w 711743"/>
              <a:gd name="connsiteY11" fmla="*/ 69553 h 414325"/>
              <a:gd name="connsiteX12" fmla="*/ 355263 w 711743"/>
              <a:gd name="connsiteY12" fmla="*/ 17 h 414325"/>
              <a:gd name="connsiteX13" fmla="*/ 299634 w 711743"/>
              <a:gd name="connsiteY13" fmla="*/ 76507 h 414325"/>
              <a:gd name="connsiteX14" fmla="*/ 115363 w 711743"/>
              <a:gd name="connsiteY14" fmla="*/ 114752 h 414325"/>
              <a:gd name="connsiteX15" fmla="*/ 21489 w 711743"/>
              <a:gd name="connsiteY15" fmla="*/ 170380 h 414325"/>
              <a:gd name="connsiteX16" fmla="*/ 4105 w 711743"/>
              <a:gd name="connsiteY16" fmla="*/ 274685 h 414325"/>
              <a:gd name="connsiteX17" fmla="*/ 80595 w 711743"/>
              <a:gd name="connsiteY17" fmla="*/ 354651 h 414325"/>
              <a:gd name="connsiteX18" fmla="*/ 170992 w 711743"/>
              <a:gd name="connsiteY18" fmla="*/ 368558 h 414325"/>
              <a:gd name="connsiteX19" fmla="*/ 233574 w 711743"/>
              <a:gd name="connsiteY19" fmla="*/ 347698 h 414325"/>
              <a:gd name="connsiteX20" fmla="*/ 268342 w 711743"/>
              <a:gd name="connsiteY20" fmla="*/ 326837 h 414325"/>
              <a:gd name="connsiteX21" fmla="*/ 306587 w 711743"/>
              <a:gd name="connsiteY21" fmla="*/ 305976 h 414325"/>
              <a:gd name="connsiteX22" fmla="*/ 254435 w 711743"/>
              <a:gd name="connsiteY22" fmla="*/ 375512 h 414325"/>
              <a:gd name="connsiteX23" fmla="*/ 189010 w 711743"/>
              <a:gd name="connsiteY23" fmla="*/ 410661 h 414325"/>
              <a:gd name="connsiteX0" fmla="*/ 515196 w 711743"/>
              <a:gd name="connsiteY0" fmla="*/ 410280 h 410972"/>
              <a:gd name="connsiteX1" fmla="*/ 445660 w 711743"/>
              <a:gd name="connsiteY1" fmla="*/ 365082 h 410972"/>
              <a:gd name="connsiteX2" fmla="*/ 410891 w 711743"/>
              <a:gd name="connsiteY2" fmla="*/ 295545 h 410972"/>
              <a:gd name="connsiteX3" fmla="*/ 480428 w 711743"/>
              <a:gd name="connsiteY3" fmla="*/ 351174 h 410972"/>
              <a:gd name="connsiteX4" fmla="*/ 567348 w 711743"/>
              <a:gd name="connsiteY4" fmla="*/ 365082 h 410972"/>
              <a:gd name="connsiteX5" fmla="*/ 643837 w 711743"/>
              <a:gd name="connsiteY5" fmla="*/ 344221 h 410972"/>
              <a:gd name="connsiteX6" fmla="*/ 702943 w 711743"/>
              <a:gd name="connsiteY6" fmla="*/ 281638 h 410972"/>
              <a:gd name="connsiteX7" fmla="*/ 706420 w 711743"/>
              <a:gd name="connsiteY7" fmla="*/ 198195 h 410972"/>
              <a:gd name="connsiteX8" fmla="*/ 654268 w 711743"/>
              <a:gd name="connsiteY8" fmla="*/ 139089 h 410972"/>
              <a:gd name="connsiteX9" fmla="*/ 546487 w 711743"/>
              <a:gd name="connsiteY9" fmla="*/ 97367 h 410972"/>
              <a:gd name="connsiteX10" fmla="*/ 421322 w 711743"/>
              <a:gd name="connsiteY10" fmla="*/ 69553 h 410972"/>
              <a:gd name="connsiteX11" fmla="*/ 355263 w 711743"/>
              <a:gd name="connsiteY11" fmla="*/ 17 h 410972"/>
              <a:gd name="connsiteX12" fmla="*/ 299634 w 711743"/>
              <a:gd name="connsiteY12" fmla="*/ 76507 h 410972"/>
              <a:gd name="connsiteX13" fmla="*/ 115363 w 711743"/>
              <a:gd name="connsiteY13" fmla="*/ 114752 h 410972"/>
              <a:gd name="connsiteX14" fmla="*/ 21489 w 711743"/>
              <a:gd name="connsiteY14" fmla="*/ 170380 h 410972"/>
              <a:gd name="connsiteX15" fmla="*/ 4105 w 711743"/>
              <a:gd name="connsiteY15" fmla="*/ 274685 h 410972"/>
              <a:gd name="connsiteX16" fmla="*/ 80595 w 711743"/>
              <a:gd name="connsiteY16" fmla="*/ 354651 h 410972"/>
              <a:gd name="connsiteX17" fmla="*/ 170992 w 711743"/>
              <a:gd name="connsiteY17" fmla="*/ 368558 h 410972"/>
              <a:gd name="connsiteX18" fmla="*/ 233574 w 711743"/>
              <a:gd name="connsiteY18" fmla="*/ 347698 h 410972"/>
              <a:gd name="connsiteX19" fmla="*/ 268342 w 711743"/>
              <a:gd name="connsiteY19" fmla="*/ 326837 h 410972"/>
              <a:gd name="connsiteX20" fmla="*/ 306587 w 711743"/>
              <a:gd name="connsiteY20" fmla="*/ 305976 h 410972"/>
              <a:gd name="connsiteX21" fmla="*/ 254435 w 711743"/>
              <a:gd name="connsiteY21" fmla="*/ 375512 h 410972"/>
              <a:gd name="connsiteX22" fmla="*/ 189010 w 711743"/>
              <a:gd name="connsiteY22" fmla="*/ 410661 h 410972"/>
              <a:gd name="connsiteX0" fmla="*/ 515196 w 711743"/>
              <a:gd name="connsiteY0" fmla="*/ 410280 h 410972"/>
              <a:gd name="connsiteX1" fmla="*/ 445660 w 711743"/>
              <a:gd name="connsiteY1" fmla="*/ 365082 h 410972"/>
              <a:gd name="connsiteX2" fmla="*/ 404090 w 711743"/>
              <a:gd name="connsiteY2" fmla="*/ 300646 h 410972"/>
              <a:gd name="connsiteX3" fmla="*/ 480428 w 711743"/>
              <a:gd name="connsiteY3" fmla="*/ 351174 h 410972"/>
              <a:gd name="connsiteX4" fmla="*/ 567348 w 711743"/>
              <a:gd name="connsiteY4" fmla="*/ 365082 h 410972"/>
              <a:gd name="connsiteX5" fmla="*/ 643837 w 711743"/>
              <a:gd name="connsiteY5" fmla="*/ 344221 h 410972"/>
              <a:gd name="connsiteX6" fmla="*/ 702943 w 711743"/>
              <a:gd name="connsiteY6" fmla="*/ 281638 h 410972"/>
              <a:gd name="connsiteX7" fmla="*/ 706420 w 711743"/>
              <a:gd name="connsiteY7" fmla="*/ 198195 h 410972"/>
              <a:gd name="connsiteX8" fmla="*/ 654268 w 711743"/>
              <a:gd name="connsiteY8" fmla="*/ 139089 h 410972"/>
              <a:gd name="connsiteX9" fmla="*/ 546487 w 711743"/>
              <a:gd name="connsiteY9" fmla="*/ 97367 h 410972"/>
              <a:gd name="connsiteX10" fmla="*/ 421322 w 711743"/>
              <a:gd name="connsiteY10" fmla="*/ 69553 h 410972"/>
              <a:gd name="connsiteX11" fmla="*/ 355263 w 711743"/>
              <a:gd name="connsiteY11" fmla="*/ 17 h 410972"/>
              <a:gd name="connsiteX12" fmla="*/ 299634 w 711743"/>
              <a:gd name="connsiteY12" fmla="*/ 76507 h 410972"/>
              <a:gd name="connsiteX13" fmla="*/ 115363 w 711743"/>
              <a:gd name="connsiteY13" fmla="*/ 114752 h 410972"/>
              <a:gd name="connsiteX14" fmla="*/ 21489 w 711743"/>
              <a:gd name="connsiteY14" fmla="*/ 170380 h 410972"/>
              <a:gd name="connsiteX15" fmla="*/ 4105 w 711743"/>
              <a:gd name="connsiteY15" fmla="*/ 274685 h 410972"/>
              <a:gd name="connsiteX16" fmla="*/ 80595 w 711743"/>
              <a:gd name="connsiteY16" fmla="*/ 354651 h 410972"/>
              <a:gd name="connsiteX17" fmla="*/ 170992 w 711743"/>
              <a:gd name="connsiteY17" fmla="*/ 368558 h 410972"/>
              <a:gd name="connsiteX18" fmla="*/ 233574 w 711743"/>
              <a:gd name="connsiteY18" fmla="*/ 347698 h 410972"/>
              <a:gd name="connsiteX19" fmla="*/ 268342 w 711743"/>
              <a:gd name="connsiteY19" fmla="*/ 326837 h 410972"/>
              <a:gd name="connsiteX20" fmla="*/ 306587 w 711743"/>
              <a:gd name="connsiteY20" fmla="*/ 305976 h 410972"/>
              <a:gd name="connsiteX21" fmla="*/ 254435 w 711743"/>
              <a:gd name="connsiteY21" fmla="*/ 375512 h 410972"/>
              <a:gd name="connsiteX22" fmla="*/ 189010 w 711743"/>
              <a:gd name="connsiteY22" fmla="*/ 410661 h 410972"/>
              <a:gd name="connsiteX0" fmla="*/ 515196 w 711743"/>
              <a:gd name="connsiteY0" fmla="*/ 410268 h 410960"/>
              <a:gd name="connsiteX1" fmla="*/ 445660 w 711743"/>
              <a:gd name="connsiteY1" fmla="*/ 365070 h 410960"/>
              <a:gd name="connsiteX2" fmla="*/ 404090 w 711743"/>
              <a:gd name="connsiteY2" fmla="*/ 300634 h 410960"/>
              <a:gd name="connsiteX3" fmla="*/ 480428 w 711743"/>
              <a:gd name="connsiteY3" fmla="*/ 351162 h 410960"/>
              <a:gd name="connsiteX4" fmla="*/ 567348 w 711743"/>
              <a:gd name="connsiteY4" fmla="*/ 365070 h 410960"/>
              <a:gd name="connsiteX5" fmla="*/ 643837 w 711743"/>
              <a:gd name="connsiteY5" fmla="*/ 344209 h 410960"/>
              <a:gd name="connsiteX6" fmla="*/ 702943 w 711743"/>
              <a:gd name="connsiteY6" fmla="*/ 281626 h 410960"/>
              <a:gd name="connsiteX7" fmla="*/ 706420 w 711743"/>
              <a:gd name="connsiteY7" fmla="*/ 198183 h 410960"/>
              <a:gd name="connsiteX8" fmla="*/ 654268 w 711743"/>
              <a:gd name="connsiteY8" fmla="*/ 139077 h 410960"/>
              <a:gd name="connsiteX9" fmla="*/ 546487 w 711743"/>
              <a:gd name="connsiteY9" fmla="*/ 97355 h 410960"/>
              <a:gd name="connsiteX10" fmla="*/ 421322 w 711743"/>
              <a:gd name="connsiteY10" fmla="*/ 69541 h 410960"/>
              <a:gd name="connsiteX11" fmla="*/ 355263 w 711743"/>
              <a:gd name="connsiteY11" fmla="*/ 5 h 410960"/>
              <a:gd name="connsiteX12" fmla="*/ 289432 w 711743"/>
              <a:gd name="connsiteY12" fmla="*/ 73094 h 410960"/>
              <a:gd name="connsiteX13" fmla="*/ 115363 w 711743"/>
              <a:gd name="connsiteY13" fmla="*/ 114740 h 410960"/>
              <a:gd name="connsiteX14" fmla="*/ 21489 w 711743"/>
              <a:gd name="connsiteY14" fmla="*/ 170368 h 410960"/>
              <a:gd name="connsiteX15" fmla="*/ 4105 w 711743"/>
              <a:gd name="connsiteY15" fmla="*/ 274673 h 410960"/>
              <a:gd name="connsiteX16" fmla="*/ 80595 w 711743"/>
              <a:gd name="connsiteY16" fmla="*/ 354639 h 410960"/>
              <a:gd name="connsiteX17" fmla="*/ 170992 w 711743"/>
              <a:gd name="connsiteY17" fmla="*/ 368546 h 410960"/>
              <a:gd name="connsiteX18" fmla="*/ 233574 w 711743"/>
              <a:gd name="connsiteY18" fmla="*/ 347686 h 410960"/>
              <a:gd name="connsiteX19" fmla="*/ 268342 w 711743"/>
              <a:gd name="connsiteY19" fmla="*/ 326825 h 410960"/>
              <a:gd name="connsiteX20" fmla="*/ 306587 w 711743"/>
              <a:gd name="connsiteY20" fmla="*/ 305964 h 410960"/>
              <a:gd name="connsiteX21" fmla="*/ 254435 w 711743"/>
              <a:gd name="connsiteY21" fmla="*/ 375500 h 410960"/>
              <a:gd name="connsiteX22" fmla="*/ 189010 w 711743"/>
              <a:gd name="connsiteY22" fmla="*/ 410649 h 410960"/>
              <a:gd name="connsiteX0" fmla="*/ 515196 w 711743"/>
              <a:gd name="connsiteY0" fmla="*/ 410268 h 410960"/>
              <a:gd name="connsiteX1" fmla="*/ 445660 w 711743"/>
              <a:gd name="connsiteY1" fmla="*/ 365070 h 410960"/>
              <a:gd name="connsiteX2" fmla="*/ 404090 w 711743"/>
              <a:gd name="connsiteY2" fmla="*/ 300634 h 410960"/>
              <a:gd name="connsiteX3" fmla="*/ 480428 w 711743"/>
              <a:gd name="connsiteY3" fmla="*/ 351162 h 410960"/>
              <a:gd name="connsiteX4" fmla="*/ 567348 w 711743"/>
              <a:gd name="connsiteY4" fmla="*/ 365070 h 410960"/>
              <a:gd name="connsiteX5" fmla="*/ 643837 w 711743"/>
              <a:gd name="connsiteY5" fmla="*/ 344209 h 410960"/>
              <a:gd name="connsiteX6" fmla="*/ 702943 w 711743"/>
              <a:gd name="connsiteY6" fmla="*/ 281626 h 410960"/>
              <a:gd name="connsiteX7" fmla="*/ 706420 w 711743"/>
              <a:gd name="connsiteY7" fmla="*/ 198183 h 410960"/>
              <a:gd name="connsiteX8" fmla="*/ 654268 w 711743"/>
              <a:gd name="connsiteY8" fmla="*/ 139077 h 410960"/>
              <a:gd name="connsiteX9" fmla="*/ 546487 w 711743"/>
              <a:gd name="connsiteY9" fmla="*/ 97355 h 410960"/>
              <a:gd name="connsiteX10" fmla="*/ 421322 w 711743"/>
              <a:gd name="connsiteY10" fmla="*/ 69541 h 410960"/>
              <a:gd name="connsiteX11" fmla="*/ 355263 w 711743"/>
              <a:gd name="connsiteY11" fmla="*/ 5 h 410960"/>
              <a:gd name="connsiteX12" fmla="*/ 289432 w 711743"/>
              <a:gd name="connsiteY12" fmla="*/ 73094 h 410960"/>
              <a:gd name="connsiteX13" fmla="*/ 115363 w 711743"/>
              <a:gd name="connsiteY13" fmla="*/ 114740 h 410960"/>
              <a:gd name="connsiteX14" fmla="*/ 21489 w 711743"/>
              <a:gd name="connsiteY14" fmla="*/ 170368 h 410960"/>
              <a:gd name="connsiteX15" fmla="*/ 4105 w 711743"/>
              <a:gd name="connsiteY15" fmla="*/ 274673 h 410960"/>
              <a:gd name="connsiteX16" fmla="*/ 80595 w 711743"/>
              <a:gd name="connsiteY16" fmla="*/ 354639 h 410960"/>
              <a:gd name="connsiteX17" fmla="*/ 170992 w 711743"/>
              <a:gd name="connsiteY17" fmla="*/ 368546 h 410960"/>
              <a:gd name="connsiteX18" fmla="*/ 233574 w 711743"/>
              <a:gd name="connsiteY18" fmla="*/ 347686 h 410960"/>
              <a:gd name="connsiteX19" fmla="*/ 268342 w 711743"/>
              <a:gd name="connsiteY19" fmla="*/ 326825 h 410960"/>
              <a:gd name="connsiteX20" fmla="*/ 306587 w 711743"/>
              <a:gd name="connsiteY20" fmla="*/ 305964 h 410960"/>
              <a:gd name="connsiteX21" fmla="*/ 254435 w 711743"/>
              <a:gd name="connsiteY21" fmla="*/ 375500 h 410960"/>
              <a:gd name="connsiteX22" fmla="*/ 189010 w 711743"/>
              <a:gd name="connsiteY22" fmla="*/ 410649 h 410960"/>
              <a:gd name="connsiteX0" fmla="*/ 515196 w 711743"/>
              <a:gd name="connsiteY0" fmla="*/ 410268 h 410960"/>
              <a:gd name="connsiteX1" fmla="*/ 445660 w 711743"/>
              <a:gd name="connsiteY1" fmla="*/ 365070 h 410960"/>
              <a:gd name="connsiteX2" fmla="*/ 404090 w 711743"/>
              <a:gd name="connsiteY2" fmla="*/ 300634 h 410960"/>
              <a:gd name="connsiteX3" fmla="*/ 480428 w 711743"/>
              <a:gd name="connsiteY3" fmla="*/ 351162 h 410960"/>
              <a:gd name="connsiteX4" fmla="*/ 567348 w 711743"/>
              <a:gd name="connsiteY4" fmla="*/ 365070 h 410960"/>
              <a:gd name="connsiteX5" fmla="*/ 643837 w 711743"/>
              <a:gd name="connsiteY5" fmla="*/ 344209 h 410960"/>
              <a:gd name="connsiteX6" fmla="*/ 702943 w 711743"/>
              <a:gd name="connsiteY6" fmla="*/ 281626 h 410960"/>
              <a:gd name="connsiteX7" fmla="*/ 706420 w 711743"/>
              <a:gd name="connsiteY7" fmla="*/ 198183 h 410960"/>
              <a:gd name="connsiteX8" fmla="*/ 654268 w 711743"/>
              <a:gd name="connsiteY8" fmla="*/ 139077 h 410960"/>
              <a:gd name="connsiteX9" fmla="*/ 546487 w 711743"/>
              <a:gd name="connsiteY9" fmla="*/ 97355 h 410960"/>
              <a:gd name="connsiteX10" fmla="*/ 421322 w 711743"/>
              <a:gd name="connsiteY10" fmla="*/ 69541 h 410960"/>
              <a:gd name="connsiteX11" fmla="*/ 355263 w 711743"/>
              <a:gd name="connsiteY11" fmla="*/ 5 h 410960"/>
              <a:gd name="connsiteX12" fmla="*/ 289432 w 711743"/>
              <a:gd name="connsiteY12" fmla="*/ 73094 h 410960"/>
              <a:gd name="connsiteX13" fmla="*/ 115363 w 711743"/>
              <a:gd name="connsiteY13" fmla="*/ 114740 h 410960"/>
              <a:gd name="connsiteX14" fmla="*/ 21489 w 711743"/>
              <a:gd name="connsiteY14" fmla="*/ 170368 h 410960"/>
              <a:gd name="connsiteX15" fmla="*/ 4105 w 711743"/>
              <a:gd name="connsiteY15" fmla="*/ 274673 h 410960"/>
              <a:gd name="connsiteX16" fmla="*/ 80595 w 711743"/>
              <a:gd name="connsiteY16" fmla="*/ 354639 h 410960"/>
              <a:gd name="connsiteX17" fmla="*/ 170992 w 711743"/>
              <a:gd name="connsiteY17" fmla="*/ 368546 h 410960"/>
              <a:gd name="connsiteX18" fmla="*/ 233574 w 711743"/>
              <a:gd name="connsiteY18" fmla="*/ 347686 h 410960"/>
              <a:gd name="connsiteX19" fmla="*/ 306587 w 711743"/>
              <a:gd name="connsiteY19" fmla="*/ 305964 h 410960"/>
              <a:gd name="connsiteX20" fmla="*/ 254435 w 711743"/>
              <a:gd name="connsiteY20" fmla="*/ 375500 h 410960"/>
              <a:gd name="connsiteX21" fmla="*/ 189010 w 711743"/>
              <a:gd name="connsiteY21" fmla="*/ 410649 h 410960"/>
              <a:gd name="connsiteX0" fmla="*/ 515196 w 711743"/>
              <a:gd name="connsiteY0" fmla="*/ 410268 h 410960"/>
              <a:gd name="connsiteX1" fmla="*/ 445660 w 711743"/>
              <a:gd name="connsiteY1" fmla="*/ 365070 h 410960"/>
              <a:gd name="connsiteX2" fmla="*/ 409844 w 711743"/>
              <a:gd name="connsiteY2" fmla="*/ 308306 h 410960"/>
              <a:gd name="connsiteX3" fmla="*/ 480428 w 711743"/>
              <a:gd name="connsiteY3" fmla="*/ 351162 h 410960"/>
              <a:gd name="connsiteX4" fmla="*/ 567348 w 711743"/>
              <a:gd name="connsiteY4" fmla="*/ 365070 h 410960"/>
              <a:gd name="connsiteX5" fmla="*/ 643837 w 711743"/>
              <a:gd name="connsiteY5" fmla="*/ 344209 h 410960"/>
              <a:gd name="connsiteX6" fmla="*/ 702943 w 711743"/>
              <a:gd name="connsiteY6" fmla="*/ 281626 h 410960"/>
              <a:gd name="connsiteX7" fmla="*/ 706420 w 711743"/>
              <a:gd name="connsiteY7" fmla="*/ 198183 h 410960"/>
              <a:gd name="connsiteX8" fmla="*/ 654268 w 711743"/>
              <a:gd name="connsiteY8" fmla="*/ 139077 h 410960"/>
              <a:gd name="connsiteX9" fmla="*/ 546487 w 711743"/>
              <a:gd name="connsiteY9" fmla="*/ 97355 h 410960"/>
              <a:gd name="connsiteX10" fmla="*/ 421322 w 711743"/>
              <a:gd name="connsiteY10" fmla="*/ 69541 h 410960"/>
              <a:gd name="connsiteX11" fmla="*/ 355263 w 711743"/>
              <a:gd name="connsiteY11" fmla="*/ 5 h 410960"/>
              <a:gd name="connsiteX12" fmla="*/ 289432 w 711743"/>
              <a:gd name="connsiteY12" fmla="*/ 73094 h 410960"/>
              <a:gd name="connsiteX13" fmla="*/ 115363 w 711743"/>
              <a:gd name="connsiteY13" fmla="*/ 114740 h 410960"/>
              <a:gd name="connsiteX14" fmla="*/ 21489 w 711743"/>
              <a:gd name="connsiteY14" fmla="*/ 170368 h 410960"/>
              <a:gd name="connsiteX15" fmla="*/ 4105 w 711743"/>
              <a:gd name="connsiteY15" fmla="*/ 274673 h 410960"/>
              <a:gd name="connsiteX16" fmla="*/ 80595 w 711743"/>
              <a:gd name="connsiteY16" fmla="*/ 354639 h 410960"/>
              <a:gd name="connsiteX17" fmla="*/ 170992 w 711743"/>
              <a:gd name="connsiteY17" fmla="*/ 368546 h 410960"/>
              <a:gd name="connsiteX18" fmla="*/ 233574 w 711743"/>
              <a:gd name="connsiteY18" fmla="*/ 347686 h 410960"/>
              <a:gd name="connsiteX19" fmla="*/ 306587 w 711743"/>
              <a:gd name="connsiteY19" fmla="*/ 305964 h 410960"/>
              <a:gd name="connsiteX20" fmla="*/ 254435 w 711743"/>
              <a:gd name="connsiteY20" fmla="*/ 375500 h 410960"/>
              <a:gd name="connsiteX21" fmla="*/ 189010 w 711743"/>
              <a:gd name="connsiteY21" fmla="*/ 410649 h 410960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54435 w 711743"/>
              <a:gd name="connsiteY20" fmla="*/ 375500 h 412186"/>
              <a:gd name="connsiteX21" fmla="*/ 189010 w 711743"/>
              <a:gd name="connsiteY21" fmla="*/ 410649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54435 w 711743"/>
              <a:gd name="connsiteY20" fmla="*/ 375500 h 412186"/>
              <a:gd name="connsiteX21" fmla="*/ 200518 w 711743"/>
              <a:gd name="connsiteY21" fmla="*/ 406813 h 412186"/>
              <a:gd name="connsiteX0" fmla="*/ 515196 w 711743"/>
              <a:gd name="connsiteY0" fmla="*/ 412186 h 412858"/>
              <a:gd name="connsiteX1" fmla="*/ 445660 w 711743"/>
              <a:gd name="connsiteY1" fmla="*/ 365070 h 412858"/>
              <a:gd name="connsiteX2" fmla="*/ 409844 w 711743"/>
              <a:gd name="connsiteY2" fmla="*/ 308306 h 412858"/>
              <a:gd name="connsiteX3" fmla="*/ 480428 w 711743"/>
              <a:gd name="connsiteY3" fmla="*/ 351162 h 412858"/>
              <a:gd name="connsiteX4" fmla="*/ 567348 w 711743"/>
              <a:gd name="connsiteY4" fmla="*/ 365070 h 412858"/>
              <a:gd name="connsiteX5" fmla="*/ 643837 w 711743"/>
              <a:gd name="connsiteY5" fmla="*/ 344209 h 412858"/>
              <a:gd name="connsiteX6" fmla="*/ 702943 w 711743"/>
              <a:gd name="connsiteY6" fmla="*/ 281626 h 412858"/>
              <a:gd name="connsiteX7" fmla="*/ 706420 w 711743"/>
              <a:gd name="connsiteY7" fmla="*/ 198183 h 412858"/>
              <a:gd name="connsiteX8" fmla="*/ 654268 w 711743"/>
              <a:gd name="connsiteY8" fmla="*/ 139077 h 412858"/>
              <a:gd name="connsiteX9" fmla="*/ 546487 w 711743"/>
              <a:gd name="connsiteY9" fmla="*/ 97355 h 412858"/>
              <a:gd name="connsiteX10" fmla="*/ 421322 w 711743"/>
              <a:gd name="connsiteY10" fmla="*/ 69541 h 412858"/>
              <a:gd name="connsiteX11" fmla="*/ 355263 w 711743"/>
              <a:gd name="connsiteY11" fmla="*/ 5 h 412858"/>
              <a:gd name="connsiteX12" fmla="*/ 289432 w 711743"/>
              <a:gd name="connsiteY12" fmla="*/ 73094 h 412858"/>
              <a:gd name="connsiteX13" fmla="*/ 115363 w 711743"/>
              <a:gd name="connsiteY13" fmla="*/ 114740 h 412858"/>
              <a:gd name="connsiteX14" fmla="*/ 21489 w 711743"/>
              <a:gd name="connsiteY14" fmla="*/ 170368 h 412858"/>
              <a:gd name="connsiteX15" fmla="*/ 4105 w 711743"/>
              <a:gd name="connsiteY15" fmla="*/ 274673 h 412858"/>
              <a:gd name="connsiteX16" fmla="*/ 80595 w 711743"/>
              <a:gd name="connsiteY16" fmla="*/ 354639 h 412858"/>
              <a:gd name="connsiteX17" fmla="*/ 170992 w 711743"/>
              <a:gd name="connsiteY17" fmla="*/ 368546 h 412858"/>
              <a:gd name="connsiteX18" fmla="*/ 233574 w 711743"/>
              <a:gd name="connsiteY18" fmla="*/ 347686 h 412858"/>
              <a:gd name="connsiteX19" fmla="*/ 306587 w 711743"/>
              <a:gd name="connsiteY19" fmla="*/ 305964 h 412858"/>
              <a:gd name="connsiteX20" fmla="*/ 254435 w 711743"/>
              <a:gd name="connsiteY20" fmla="*/ 375500 h 412858"/>
              <a:gd name="connsiteX21" fmla="*/ 192846 w 711743"/>
              <a:gd name="connsiteY21" fmla="*/ 412567 h 412858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54435 w 711743"/>
              <a:gd name="connsiteY20" fmla="*/ 375500 h 412186"/>
              <a:gd name="connsiteX21" fmla="*/ 189010 w 711743"/>
              <a:gd name="connsiteY21" fmla="*/ 406813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89010 w 711743"/>
              <a:gd name="connsiteY21" fmla="*/ 406813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94764 w 711743"/>
              <a:gd name="connsiteY21" fmla="*/ 410649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85174 w 711743"/>
              <a:gd name="connsiteY21" fmla="*/ 408731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33389 w 711743"/>
              <a:gd name="connsiteY21" fmla="*/ 406813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33389 w 711743"/>
              <a:gd name="connsiteY21" fmla="*/ 406813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33389 w 711743"/>
              <a:gd name="connsiteY21" fmla="*/ 406813 h 412186"/>
              <a:gd name="connsiteX0" fmla="*/ 515196 w 711743"/>
              <a:gd name="connsiteY0" fmla="*/ 412186 h 412186"/>
              <a:gd name="connsiteX1" fmla="*/ 445660 w 711743"/>
              <a:gd name="connsiteY1" fmla="*/ 365070 h 412186"/>
              <a:gd name="connsiteX2" fmla="*/ 409844 w 711743"/>
              <a:gd name="connsiteY2" fmla="*/ 308306 h 412186"/>
              <a:gd name="connsiteX3" fmla="*/ 480428 w 711743"/>
              <a:gd name="connsiteY3" fmla="*/ 351162 h 412186"/>
              <a:gd name="connsiteX4" fmla="*/ 567348 w 711743"/>
              <a:gd name="connsiteY4" fmla="*/ 365070 h 412186"/>
              <a:gd name="connsiteX5" fmla="*/ 643837 w 711743"/>
              <a:gd name="connsiteY5" fmla="*/ 344209 h 412186"/>
              <a:gd name="connsiteX6" fmla="*/ 702943 w 711743"/>
              <a:gd name="connsiteY6" fmla="*/ 281626 h 412186"/>
              <a:gd name="connsiteX7" fmla="*/ 706420 w 711743"/>
              <a:gd name="connsiteY7" fmla="*/ 198183 h 412186"/>
              <a:gd name="connsiteX8" fmla="*/ 654268 w 711743"/>
              <a:gd name="connsiteY8" fmla="*/ 139077 h 412186"/>
              <a:gd name="connsiteX9" fmla="*/ 546487 w 711743"/>
              <a:gd name="connsiteY9" fmla="*/ 97355 h 412186"/>
              <a:gd name="connsiteX10" fmla="*/ 421322 w 711743"/>
              <a:gd name="connsiteY10" fmla="*/ 69541 h 412186"/>
              <a:gd name="connsiteX11" fmla="*/ 355263 w 711743"/>
              <a:gd name="connsiteY11" fmla="*/ 5 h 412186"/>
              <a:gd name="connsiteX12" fmla="*/ 289432 w 711743"/>
              <a:gd name="connsiteY12" fmla="*/ 73094 h 412186"/>
              <a:gd name="connsiteX13" fmla="*/ 115363 w 711743"/>
              <a:gd name="connsiteY13" fmla="*/ 114740 h 412186"/>
              <a:gd name="connsiteX14" fmla="*/ 21489 w 711743"/>
              <a:gd name="connsiteY14" fmla="*/ 170368 h 412186"/>
              <a:gd name="connsiteX15" fmla="*/ 4105 w 711743"/>
              <a:gd name="connsiteY15" fmla="*/ 274673 h 412186"/>
              <a:gd name="connsiteX16" fmla="*/ 80595 w 711743"/>
              <a:gd name="connsiteY16" fmla="*/ 354639 h 412186"/>
              <a:gd name="connsiteX17" fmla="*/ 170992 w 711743"/>
              <a:gd name="connsiteY17" fmla="*/ 368546 h 412186"/>
              <a:gd name="connsiteX18" fmla="*/ 233574 w 711743"/>
              <a:gd name="connsiteY18" fmla="*/ 347686 h 412186"/>
              <a:gd name="connsiteX19" fmla="*/ 306587 w 711743"/>
              <a:gd name="connsiteY19" fmla="*/ 305964 h 412186"/>
              <a:gd name="connsiteX20" fmla="*/ 260189 w 711743"/>
              <a:gd name="connsiteY20" fmla="*/ 379336 h 412186"/>
              <a:gd name="connsiteX21" fmla="*/ 133389 w 711743"/>
              <a:gd name="connsiteY21" fmla="*/ 406813 h 412186"/>
              <a:gd name="connsiteX0" fmla="*/ 515196 w 711743"/>
              <a:gd name="connsiteY0" fmla="*/ 412186 h 415866"/>
              <a:gd name="connsiteX1" fmla="*/ 445660 w 711743"/>
              <a:gd name="connsiteY1" fmla="*/ 365070 h 415866"/>
              <a:gd name="connsiteX2" fmla="*/ 409844 w 711743"/>
              <a:gd name="connsiteY2" fmla="*/ 308306 h 415866"/>
              <a:gd name="connsiteX3" fmla="*/ 480428 w 711743"/>
              <a:gd name="connsiteY3" fmla="*/ 351162 h 415866"/>
              <a:gd name="connsiteX4" fmla="*/ 567348 w 711743"/>
              <a:gd name="connsiteY4" fmla="*/ 365070 h 415866"/>
              <a:gd name="connsiteX5" fmla="*/ 643837 w 711743"/>
              <a:gd name="connsiteY5" fmla="*/ 344209 h 415866"/>
              <a:gd name="connsiteX6" fmla="*/ 702943 w 711743"/>
              <a:gd name="connsiteY6" fmla="*/ 281626 h 415866"/>
              <a:gd name="connsiteX7" fmla="*/ 706420 w 711743"/>
              <a:gd name="connsiteY7" fmla="*/ 198183 h 415866"/>
              <a:gd name="connsiteX8" fmla="*/ 654268 w 711743"/>
              <a:gd name="connsiteY8" fmla="*/ 139077 h 415866"/>
              <a:gd name="connsiteX9" fmla="*/ 546487 w 711743"/>
              <a:gd name="connsiteY9" fmla="*/ 97355 h 415866"/>
              <a:gd name="connsiteX10" fmla="*/ 421322 w 711743"/>
              <a:gd name="connsiteY10" fmla="*/ 69541 h 415866"/>
              <a:gd name="connsiteX11" fmla="*/ 355263 w 711743"/>
              <a:gd name="connsiteY11" fmla="*/ 5 h 415866"/>
              <a:gd name="connsiteX12" fmla="*/ 289432 w 711743"/>
              <a:gd name="connsiteY12" fmla="*/ 73094 h 415866"/>
              <a:gd name="connsiteX13" fmla="*/ 115363 w 711743"/>
              <a:gd name="connsiteY13" fmla="*/ 114740 h 415866"/>
              <a:gd name="connsiteX14" fmla="*/ 21489 w 711743"/>
              <a:gd name="connsiteY14" fmla="*/ 170368 h 415866"/>
              <a:gd name="connsiteX15" fmla="*/ 4105 w 711743"/>
              <a:gd name="connsiteY15" fmla="*/ 274673 h 415866"/>
              <a:gd name="connsiteX16" fmla="*/ 80595 w 711743"/>
              <a:gd name="connsiteY16" fmla="*/ 354639 h 415866"/>
              <a:gd name="connsiteX17" fmla="*/ 170992 w 711743"/>
              <a:gd name="connsiteY17" fmla="*/ 368546 h 415866"/>
              <a:gd name="connsiteX18" fmla="*/ 233574 w 711743"/>
              <a:gd name="connsiteY18" fmla="*/ 347686 h 415866"/>
              <a:gd name="connsiteX19" fmla="*/ 306587 w 711743"/>
              <a:gd name="connsiteY19" fmla="*/ 305964 h 415866"/>
              <a:gd name="connsiteX20" fmla="*/ 260189 w 711743"/>
              <a:gd name="connsiteY20" fmla="*/ 379336 h 415866"/>
              <a:gd name="connsiteX21" fmla="*/ 136887 w 711743"/>
              <a:gd name="connsiteY21" fmla="*/ 415559 h 415866"/>
              <a:gd name="connsiteX0" fmla="*/ 530939 w 711743"/>
              <a:gd name="connsiteY0" fmla="*/ 424430 h 424430"/>
              <a:gd name="connsiteX1" fmla="*/ 445660 w 711743"/>
              <a:gd name="connsiteY1" fmla="*/ 365070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60189 w 711743"/>
              <a:gd name="connsiteY20" fmla="*/ 379336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36914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60189 w 711743"/>
              <a:gd name="connsiteY20" fmla="*/ 379336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36914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75838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36914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75838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36914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22921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22921 w 711743"/>
              <a:gd name="connsiteY1" fmla="*/ 375565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14175 w 711743"/>
              <a:gd name="connsiteY1" fmla="*/ 382562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14175 w 711743"/>
              <a:gd name="connsiteY1" fmla="*/ 382562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30939 w 711743"/>
              <a:gd name="connsiteY0" fmla="*/ 424430 h 424430"/>
              <a:gd name="connsiteX1" fmla="*/ 422921 w 711743"/>
              <a:gd name="connsiteY1" fmla="*/ 387810 h 424430"/>
              <a:gd name="connsiteX2" fmla="*/ 409844 w 711743"/>
              <a:gd name="connsiteY2" fmla="*/ 308306 h 424430"/>
              <a:gd name="connsiteX3" fmla="*/ 480428 w 711743"/>
              <a:gd name="connsiteY3" fmla="*/ 351162 h 424430"/>
              <a:gd name="connsiteX4" fmla="*/ 567348 w 711743"/>
              <a:gd name="connsiteY4" fmla="*/ 365070 h 424430"/>
              <a:gd name="connsiteX5" fmla="*/ 643837 w 711743"/>
              <a:gd name="connsiteY5" fmla="*/ 344209 h 424430"/>
              <a:gd name="connsiteX6" fmla="*/ 702943 w 711743"/>
              <a:gd name="connsiteY6" fmla="*/ 281626 h 424430"/>
              <a:gd name="connsiteX7" fmla="*/ 706420 w 711743"/>
              <a:gd name="connsiteY7" fmla="*/ 198183 h 424430"/>
              <a:gd name="connsiteX8" fmla="*/ 654268 w 711743"/>
              <a:gd name="connsiteY8" fmla="*/ 139077 h 424430"/>
              <a:gd name="connsiteX9" fmla="*/ 546487 w 711743"/>
              <a:gd name="connsiteY9" fmla="*/ 97355 h 424430"/>
              <a:gd name="connsiteX10" fmla="*/ 421322 w 711743"/>
              <a:gd name="connsiteY10" fmla="*/ 69541 h 424430"/>
              <a:gd name="connsiteX11" fmla="*/ 355263 w 711743"/>
              <a:gd name="connsiteY11" fmla="*/ 5 h 424430"/>
              <a:gd name="connsiteX12" fmla="*/ 289432 w 711743"/>
              <a:gd name="connsiteY12" fmla="*/ 73094 h 424430"/>
              <a:gd name="connsiteX13" fmla="*/ 115363 w 711743"/>
              <a:gd name="connsiteY13" fmla="*/ 114740 h 424430"/>
              <a:gd name="connsiteX14" fmla="*/ 21489 w 711743"/>
              <a:gd name="connsiteY14" fmla="*/ 170368 h 424430"/>
              <a:gd name="connsiteX15" fmla="*/ 4105 w 711743"/>
              <a:gd name="connsiteY15" fmla="*/ 274673 h 424430"/>
              <a:gd name="connsiteX16" fmla="*/ 80595 w 711743"/>
              <a:gd name="connsiteY16" fmla="*/ 354639 h 424430"/>
              <a:gd name="connsiteX17" fmla="*/ 170992 w 711743"/>
              <a:gd name="connsiteY17" fmla="*/ 368546 h 424430"/>
              <a:gd name="connsiteX18" fmla="*/ 233574 w 711743"/>
              <a:gd name="connsiteY18" fmla="*/ 347686 h 424430"/>
              <a:gd name="connsiteX19" fmla="*/ 306587 w 711743"/>
              <a:gd name="connsiteY19" fmla="*/ 305964 h 424430"/>
              <a:gd name="connsiteX20" fmla="*/ 282928 w 711743"/>
              <a:gd name="connsiteY20" fmla="*/ 382835 h 424430"/>
              <a:gd name="connsiteX21" fmla="*/ 136887 w 711743"/>
              <a:gd name="connsiteY21" fmla="*/ 415559 h 424430"/>
              <a:gd name="connsiteX0" fmla="*/ 541434 w 711743"/>
              <a:gd name="connsiteY0" fmla="*/ 420931 h 420931"/>
              <a:gd name="connsiteX1" fmla="*/ 422921 w 711743"/>
              <a:gd name="connsiteY1" fmla="*/ 387810 h 420931"/>
              <a:gd name="connsiteX2" fmla="*/ 409844 w 711743"/>
              <a:gd name="connsiteY2" fmla="*/ 308306 h 420931"/>
              <a:gd name="connsiteX3" fmla="*/ 480428 w 711743"/>
              <a:gd name="connsiteY3" fmla="*/ 351162 h 420931"/>
              <a:gd name="connsiteX4" fmla="*/ 567348 w 711743"/>
              <a:gd name="connsiteY4" fmla="*/ 365070 h 420931"/>
              <a:gd name="connsiteX5" fmla="*/ 643837 w 711743"/>
              <a:gd name="connsiteY5" fmla="*/ 344209 h 420931"/>
              <a:gd name="connsiteX6" fmla="*/ 702943 w 711743"/>
              <a:gd name="connsiteY6" fmla="*/ 281626 h 420931"/>
              <a:gd name="connsiteX7" fmla="*/ 706420 w 711743"/>
              <a:gd name="connsiteY7" fmla="*/ 198183 h 420931"/>
              <a:gd name="connsiteX8" fmla="*/ 654268 w 711743"/>
              <a:gd name="connsiteY8" fmla="*/ 139077 h 420931"/>
              <a:gd name="connsiteX9" fmla="*/ 546487 w 711743"/>
              <a:gd name="connsiteY9" fmla="*/ 97355 h 420931"/>
              <a:gd name="connsiteX10" fmla="*/ 421322 w 711743"/>
              <a:gd name="connsiteY10" fmla="*/ 69541 h 420931"/>
              <a:gd name="connsiteX11" fmla="*/ 355263 w 711743"/>
              <a:gd name="connsiteY11" fmla="*/ 5 h 420931"/>
              <a:gd name="connsiteX12" fmla="*/ 289432 w 711743"/>
              <a:gd name="connsiteY12" fmla="*/ 73094 h 420931"/>
              <a:gd name="connsiteX13" fmla="*/ 115363 w 711743"/>
              <a:gd name="connsiteY13" fmla="*/ 114740 h 420931"/>
              <a:gd name="connsiteX14" fmla="*/ 21489 w 711743"/>
              <a:gd name="connsiteY14" fmla="*/ 170368 h 420931"/>
              <a:gd name="connsiteX15" fmla="*/ 4105 w 711743"/>
              <a:gd name="connsiteY15" fmla="*/ 274673 h 420931"/>
              <a:gd name="connsiteX16" fmla="*/ 80595 w 711743"/>
              <a:gd name="connsiteY16" fmla="*/ 354639 h 420931"/>
              <a:gd name="connsiteX17" fmla="*/ 170992 w 711743"/>
              <a:gd name="connsiteY17" fmla="*/ 368546 h 420931"/>
              <a:gd name="connsiteX18" fmla="*/ 233574 w 711743"/>
              <a:gd name="connsiteY18" fmla="*/ 347686 h 420931"/>
              <a:gd name="connsiteX19" fmla="*/ 306587 w 711743"/>
              <a:gd name="connsiteY19" fmla="*/ 305964 h 420931"/>
              <a:gd name="connsiteX20" fmla="*/ 282928 w 711743"/>
              <a:gd name="connsiteY20" fmla="*/ 382835 h 420931"/>
              <a:gd name="connsiteX21" fmla="*/ 136887 w 711743"/>
              <a:gd name="connsiteY21" fmla="*/ 415559 h 420931"/>
              <a:gd name="connsiteX0" fmla="*/ 541434 w 711743"/>
              <a:gd name="connsiteY0" fmla="*/ 420931 h 421368"/>
              <a:gd name="connsiteX1" fmla="*/ 422921 w 711743"/>
              <a:gd name="connsiteY1" fmla="*/ 387810 h 421368"/>
              <a:gd name="connsiteX2" fmla="*/ 409844 w 711743"/>
              <a:gd name="connsiteY2" fmla="*/ 308306 h 421368"/>
              <a:gd name="connsiteX3" fmla="*/ 480428 w 711743"/>
              <a:gd name="connsiteY3" fmla="*/ 351162 h 421368"/>
              <a:gd name="connsiteX4" fmla="*/ 567348 w 711743"/>
              <a:gd name="connsiteY4" fmla="*/ 365070 h 421368"/>
              <a:gd name="connsiteX5" fmla="*/ 643837 w 711743"/>
              <a:gd name="connsiteY5" fmla="*/ 344209 h 421368"/>
              <a:gd name="connsiteX6" fmla="*/ 702943 w 711743"/>
              <a:gd name="connsiteY6" fmla="*/ 281626 h 421368"/>
              <a:gd name="connsiteX7" fmla="*/ 706420 w 711743"/>
              <a:gd name="connsiteY7" fmla="*/ 198183 h 421368"/>
              <a:gd name="connsiteX8" fmla="*/ 654268 w 711743"/>
              <a:gd name="connsiteY8" fmla="*/ 139077 h 421368"/>
              <a:gd name="connsiteX9" fmla="*/ 546487 w 711743"/>
              <a:gd name="connsiteY9" fmla="*/ 97355 h 421368"/>
              <a:gd name="connsiteX10" fmla="*/ 421322 w 711743"/>
              <a:gd name="connsiteY10" fmla="*/ 69541 h 421368"/>
              <a:gd name="connsiteX11" fmla="*/ 355263 w 711743"/>
              <a:gd name="connsiteY11" fmla="*/ 5 h 421368"/>
              <a:gd name="connsiteX12" fmla="*/ 289432 w 711743"/>
              <a:gd name="connsiteY12" fmla="*/ 73094 h 421368"/>
              <a:gd name="connsiteX13" fmla="*/ 115363 w 711743"/>
              <a:gd name="connsiteY13" fmla="*/ 114740 h 421368"/>
              <a:gd name="connsiteX14" fmla="*/ 21489 w 711743"/>
              <a:gd name="connsiteY14" fmla="*/ 170368 h 421368"/>
              <a:gd name="connsiteX15" fmla="*/ 4105 w 711743"/>
              <a:gd name="connsiteY15" fmla="*/ 274673 h 421368"/>
              <a:gd name="connsiteX16" fmla="*/ 80595 w 711743"/>
              <a:gd name="connsiteY16" fmla="*/ 354639 h 421368"/>
              <a:gd name="connsiteX17" fmla="*/ 170992 w 711743"/>
              <a:gd name="connsiteY17" fmla="*/ 368546 h 421368"/>
              <a:gd name="connsiteX18" fmla="*/ 233574 w 711743"/>
              <a:gd name="connsiteY18" fmla="*/ 347686 h 421368"/>
              <a:gd name="connsiteX19" fmla="*/ 306587 w 711743"/>
              <a:gd name="connsiteY19" fmla="*/ 305964 h 421368"/>
              <a:gd name="connsiteX20" fmla="*/ 282928 w 711743"/>
              <a:gd name="connsiteY20" fmla="*/ 382835 h 421368"/>
              <a:gd name="connsiteX21" fmla="*/ 136887 w 711743"/>
              <a:gd name="connsiteY21" fmla="*/ 415559 h 421368"/>
              <a:gd name="connsiteX0" fmla="*/ 541434 w 711743"/>
              <a:gd name="connsiteY0" fmla="*/ 420931 h 420931"/>
              <a:gd name="connsiteX1" fmla="*/ 422921 w 711743"/>
              <a:gd name="connsiteY1" fmla="*/ 387810 h 420931"/>
              <a:gd name="connsiteX2" fmla="*/ 409844 w 711743"/>
              <a:gd name="connsiteY2" fmla="*/ 308306 h 420931"/>
              <a:gd name="connsiteX3" fmla="*/ 480428 w 711743"/>
              <a:gd name="connsiteY3" fmla="*/ 351162 h 420931"/>
              <a:gd name="connsiteX4" fmla="*/ 567348 w 711743"/>
              <a:gd name="connsiteY4" fmla="*/ 365070 h 420931"/>
              <a:gd name="connsiteX5" fmla="*/ 643837 w 711743"/>
              <a:gd name="connsiteY5" fmla="*/ 344209 h 420931"/>
              <a:gd name="connsiteX6" fmla="*/ 702943 w 711743"/>
              <a:gd name="connsiteY6" fmla="*/ 281626 h 420931"/>
              <a:gd name="connsiteX7" fmla="*/ 706420 w 711743"/>
              <a:gd name="connsiteY7" fmla="*/ 198183 h 420931"/>
              <a:gd name="connsiteX8" fmla="*/ 654268 w 711743"/>
              <a:gd name="connsiteY8" fmla="*/ 139077 h 420931"/>
              <a:gd name="connsiteX9" fmla="*/ 546487 w 711743"/>
              <a:gd name="connsiteY9" fmla="*/ 97355 h 420931"/>
              <a:gd name="connsiteX10" fmla="*/ 421322 w 711743"/>
              <a:gd name="connsiteY10" fmla="*/ 69541 h 420931"/>
              <a:gd name="connsiteX11" fmla="*/ 355263 w 711743"/>
              <a:gd name="connsiteY11" fmla="*/ 5 h 420931"/>
              <a:gd name="connsiteX12" fmla="*/ 289432 w 711743"/>
              <a:gd name="connsiteY12" fmla="*/ 73094 h 420931"/>
              <a:gd name="connsiteX13" fmla="*/ 115363 w 711743"/>
              <a:gd name="connsiteY13" fmla="*/ 114740 h 420931"/>
              <a:gd name="connsiteX14" fmla="*/ 21489 w 711743"/>
              <a:gd name="connsiteY14" fmla="*/ 170368 h 420931"/>
              <a:gd name="connsiteX15" fmla="*/ 4105 w 711743"/>
              <a:gd name="connsiteY15" fmla="*/ 274673 h 420931"/>
              <a:gd name="connsiteX16" fmla="*/ 80595 w 711743"/>
              <a:gd name="connsiteY16" fmla="*/ 354639 h 420931"/>
              <a:gd name="connsiteX17" fmla="*/ 170992 w 711743"/>
              <a:gd name="connsiteY17" fmla="*/ 368546 h 420931"/>
              <a:gd name="connsiteX18" fmla="*/ 233574 w 711743"/>
              <a:gd name="connsiteY18" fmla="*/ 347686 h 420931"/>
              <a:gd name="connsiteX19" fmla="*/ 306587 w 711743"/>
              <a:gd name="connsiteY19" fmla="*/ 305964 h 420931"/>
              <a:gd name="connsiteX20" fmla="*/ 282928 w 711743"/>
              <a:gd name="connsiteY20" fmla="*/ 382835 h 420931"/>
              <a:gd name="connsiteX21" fmla="*/ 136887 w 711743"/>
              <a:gd name="connsiteY21" fmla="*/ 415559 h 420931"/>
              <a:gd name="connsiteX0" fmla="*/ 541434 w 711743"/>
              <a:gd name="connsiteY0" fmla="*/ 420931 h 421058"/>
              <a:gd name="connsiteX1" fmla="*/ 422921 w 711743"/>
              <a:gd name="connsiteY1" fmla="*/ 387810 h 421058"/>
              <a:gd name="connsiteX2" fmla="*/ 409844 w 711743"/>
              <a:gd name="connsiteY2" fmla="*/ 308306 h 421058"/>
              <a:gd name="connsiteX3" fmla="*/ 480428 w 711743"/>
              <a:gd name="connsiteY3" fmla="*/ 351162 h 421058"/>
              <a:gd name="connsiteX4" fmla="*/ 567348 w 711743"/>
              <a:gd name="connsiteY4" fmla="*/ 365070 h 421058"/>
              <a:gd name="connsiteX5" fmla="*/ 643837 w 711743"/>
              <a:gd name="connsiteY5" fmla="*/ 344209 h 421058"/>
              <a:gd name="connsiteX6" fmla="*/ 702943 w 711743"/>
              <a:gd name="connsiteY6" fmla="*/ 281626 h 421058"/>
              <a:gd name="connsiteX7" fmla="*/ 706420 w 711743"/>
              <a:gd name="connsiteY7" fmla="*/ 198183 h 421058"/>
              <a:gd name="connsiteX8" fmla="*/ 654268 w 711743"/>
              <a:gd name="connsiteY8" fmla="*/ 139077 h 421058"/>
              <a:gd name="connsiteX9" fmla="*/ 546487 w 711743"/>
              <a:gd name="connsiteY9" fmla="*/ 97355 h 421058"/>
              <a:gd name="connsiteX10" fmla="*/ 421322 w 711743"/>
              <a:gd name="connsiteY10" fmla="*/ 69541 h 421058"/>
              <a:gd name="connsiteX11" fmla="*/ 355263 w 711743"/>
              <a:gd name="connsiteY11" fmla="*/ 5 h 421058"/>
              <a:gd name="connsiteX12" fmla="*/ 289432 w 711743"/>
              <a:gd name="connsiteY12" fmla="*/ 73094 h 421058"/>
              <a:gd name="connsiteX13" fmla="*/ 115363 w 711743"/>
              <a:gd name="connsiteY13" fmla="*/ 114740 h 421058"/>
              <a:gd name="connsiteX14" fmla="*/ 21489 w 711743"/>
              <a:gd name="connsiteY14" fmla="*/ 170368 h 421058"/>
              <a:gd name="connsiteX15" fmla="*/ 4105 w 711743"/>
              <a:gd name="connsiteY15" fmla="*/ 274673 h 421058"/>
              <a:gd name="connsiteX16" fmla="*/ 80595 w 711743"/>
              <a:gd name="connsiteY16" fmla="*/ 354639 h 421058"/>
              <a:gd name="connsiteX17" fmla="*/ 170992 w 711743"/>
              <a:gd name="connsiteY17" fmla="*/ 368546 h 421058"/>
              <a:gd name="connsiteX18" fmla="*/ 233574 w 711743"/>
              <a:gd name="connsiteY18" fmla="*/ 347686 h 421058"/>
              <a:gd name="connsiteX19" fmla="*/ 306587 w 711743"/>
              <a:gd name="connsiteY19" fmla="*/ 305964 h 421058"/>
              <a:gd name="connsiteX20" fmla="*/ 282928 w 711743"/>
              <a:gd name="connsiteY20" fmla="*/ 382835 h 421058"/>
              <a:gd name="connsiteX21" fmla="*/ 136887 w 711743"/>
              <a:gd name="connsiteY21" fmla="*/ 415559 h 421058"/>
              <a:gd name="connsiteX0" fmla="*/ 541434 w 711743"/>
              <a:gd name="connsiteY0" fmla="*/ 420931 h 421058"/>
              <a:gd name="connsiteX1" fmla="*/ 422921 w 711743"/>
              <a:gd name="connsiteY1" fmla="*/ 387810 h 421058"/>
              <a:gd name="connsiteX2" fmla="*/ 409844 w 711743"/>
              <a:gd name="connsiteY2" fmla="*/ 308306 h 421058"/>
              <a:gd name="connsiteX3" fmla="*/ 480428 w 711743"/>
              <a:gd name="connsiteY3" fmla="*/ 351162 h 421058"/>
              <a:gd name="connsiteX4" fmla="*/ 567348 w 711743"/>
              <a:gd name="connsiteY4" fmla="*/ 365070 h 421058"/>
              <a:gd name="connsiteX5" fmla="*/ 643837 w 711743"/>
              <a:gd name="connsiteY5" fmla="*/ 344209 h 421058"/>
              <a:gd name="connsiteX6" fmla="*/ 702943 w 711743"/>
              <a:gd name="connsiteY6" fmla="*/ 281626 h 421058"/>
              <a:gd name="connsiteX7" fmla="*/ 706420 w 711743"/>
              <a:gd name="connsiteY7" fmla="*/ 198183 h 421058"/>
              <a:gd name="connsiteX8" fmla="*/ 654268 w 711743"/>
              <a:gd name="connsiteY8" fmla="*/ 139077 h 421058"/>
              <a:gd name="connsiteX9" fmla="*/ 546487 w 711743"/>
              <a:gd name="connsiteY9" fmla="*/ 97355 h 421058"/>
              <a:gd name="connsiteX10" fmla="*/ 421322 w 711743"/>
              <a:gd name="connsiteY10" fmla="*/ 69541 h 421058"/>
              <a:gd name="connsiteX11" fmla="*/ 355263 w 711743"/>
              <a:gd name="connsiteY11" fmla="*/ 5 h 421058"/>
              <a:gd name="connsiteX12" fmla="*/ 289432 w 711743"/>
              <a:gd name="connsiteY12" fmla="*/ 73094 h 421058"/>
              <a:gd name="connsiteX13" fmla="*/ 115363 w 711743"/>
              <a:gd name="connsiteY13" fmla="*/ 114740 h 421058"/>
              <a:gd name="connsiteX14" fmla="*/ 21489 w 711743"/>
              <a:gd name="connsiteY14" fmla="*/ 170368 h 421058"/>
              <a:gd name="connsiteX15" fmla="*/ 4105 w 711743"/>
              <a:gd name="connsiteY15" fmla="*/ 274673 h 421058"/>
              <a:gd name="connsiteX16" fmla="*/ 80595 w 711743"/>
              <a:gd name="connsiteY16" fmla="*/ 354639 h 421058"/>
              <a:gd name="connsiteX17" fmla="*/ 170992 w 711743"/>
              <a:gd name="connsiteY17" fmla="*/ 368546 h 421058"/>
              <a:gd name="connsiteX18" fmla="*/ 249317 w 711743"/>
              <a:gd name="connsiteY18" fmla="*/ 347686 h 421058"/>
              <a:gd name="connsiteX19" fmla="*/ 306587 w 711743"/>
              <a:gd name="connsiteY19" fmla="*/ 305964 h 421058"/>
              <a:gd name="connsiteX20" fmla="*/ 282928 w 711743"/>
              <a:gd name="connsiteY20" fmla="*/ 382835 h 421058"/>
              <a:gd name="connsiteX21" fmla="*/ 136887 w 711743"/>
              <a:gd name="connsiteY21" fmla="*/ 415559 h 421058"/>
              <a:gd name="connsiteX0" fmla="*/ 541434 w 711743"/>
              <a:gd name="connsiteY0" fmla="*/ 420931 h 421058"/>
              <a:gd name="connsiteX1" fmla="*/ 422921 w 711743"/>
              <a:gd name="connsiteY1" fmla="*/ 387810 h 421058"/>
              <a:gd name="connsiteX2" fmla="*/ 409844 w 711743"/>
              <a:gd name="connsiteY2" fmla="*/ 308306 h 421058"/>
              <a:gd name="connsiteX3" fmla="*/ 480428 w 711743"/>
              <a:gd name="connsiteY3" fmla="*/ 351162 h 421058"/>
              <a:gd name="connsiteX4" fmla="*/ 567348 w 711743"/>
              <a:gd name="connsiteY4" fmla="*/ 365070 h 421058"/>
              <a:gd name="connsiteX5" fmla="*/ 643837 w 711743"/>
              <a:gd name="connsiteY5" fmla="*/ 344209 h 421058"/>
              <a:gd name="connsiteX6" fmla="*/ 702943 w 711743"/>
              <a:gd name="connsiteY6" fmla="*/ 281626 h 421058"/>
              <a:gd name="connsiteX7" fmla="*/ 706420 w 711743"/>
              <a:gd name="connsiteY7" fmla="*/ 198183 h 421058"/>
              <a:gd name="connsiteX8" fmla="*/ 654268 w 711743"/>
              <a:gd name="connsiteY8" fmla="*/ 139077 h 421058"/>
              <a:gd name="connsiteX9" fmla="*/ 546487 w 711743"/>
              <a:gd name="connsiteY9" fmla="*/ 97355 h 421058"/>
              <a:gd name="connsiteX10" fmla="*/ 421322 w 711743"/>
              <a:gd name="connsiteY10" fmla="*/ 69541 h 421058"/>
              <a:gd name="connsiteX11" fmla="*/ 355263 w 711743"/>
              <a:gd name="connsiteY11" fmla="*/ 5 h 421058"/>
              <a:gd name="connsiteX12" fmla="*/ 289432 w 711743"/>
              <a:gd name="connsiteY12" fmla="*/ 73094 h 421058"/>
              <a:gd name="connsiteX13" fmla="*/ 115363 w 711743"/>
              <a:gd name="connsiteY13" fmla="*/ 114740 h 421058"/>
              <a:gd name="connsiteX14" fmla="*/ 21489 w 711743"/>
              <a:gd name="connsiteY14" fmla="*/ 170368 h 421058"/>
              <a:gd name="connsiteX15" fmla="*/ 4105 w 711743"/>
              <a:gd name="connsiteY15" fmla="*/ 274673 h 421058"/>
              <a:gd name="connsiteX16" fmla="*/ 80595 w 711743"/>
              <a:gd name="connsiteY16" fmla="*/ 354639 h 421058"/>
              <a:gd name="connsiteX17" fmla="*/ 170992 w 711743"/>
              <a:gd name="connsiteY17" fmla="*/ 368546 h 421058"/>
              <a:gd name="connsiteX18" fmla="*/ 249317 w 711743"/>
              <a:gd name="connsiteY18" fmla="*/ 338940 h 421058"/>
              <a:gd name="connsiteX19" fmla="*/ 306587 w 711743"/>
              <a:gd name="connsiteY19" fmla="*/ 305964 h 421058"/>
              <a:gd name="connsiteX20" fmla="*/ 282928 w 711743"/>
              <a:gd name="connsiteY20" fmla="*/ 382835 h 421058"/>
              <a:gd name="connsiteX21" fmla="*/ 136887 w 711743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84327 w 713142"/>
              <a:gd name="connsiteY20" fmla="*/ 382835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84327 w 713142"/>
              <a:gd name="connsiteY20" fmla="*/ 382835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84327 w 713142"/>
              <a:gd name="connsiteY20" fmla="*/ 382835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84327 w 713142"/>
              <a:gd name="connsiteY20" fmla="*/ 382835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75581 w 713142"/>
              <a:gd name="connsiteY20" fmla="*/ 393330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93073 w 713142"/>
              <a:gd name="connsiteY20" fmla="*/ 368842 h 421058"/>
              <a:gd name="connsiteX21" fmla="*/ 138286 w 713142"/>
              <a:gd name="connsiteY21" fmla="*/ 415559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93073 w 713142"/>
              <a:gd name="connsiteY20" fmla="*/ 368842 h 421058"/>
              <a:gd name="connsiteX21" fmla="*/ 189012 w 713142"/>
              <a:gd name="connsiteY21" fmla="*/ 410311 h 421058"/>
              <a:gd name="connsiteX0" fmla="*/ 542833 w 713142"/>
              <a:gd name="connsiteY0" fmla="*/ 420931 h 421058"/>
              <a:gd name="connsiteX1" fmla="*/ 424320 w 713142"/>
              <a:gd name="connsiteY1" fmla="*/ 387810 h 421058"/>
              <a:gd name="connsiteX2" fmla="*/ 411243 w 713142"/>
              <a:gd name="connsiteY2" fmla="*/ 308306 h 421058"/>
              <a:gd name="connsiteX3" fmla="*/ 481827 w 713142"/>
              <a:gd name="connsiteY3" fmla="*/ 351162 h 421058"/>
              <a:gd name="connsiteX4" fmla="*/ 568747 w 713142"/>
              <a:gd name="connsiteY4" fmla="*/ 365070 h 421058"/>
              <a:gd name="connsiteX5" fmla="*/ 645236 w 713142"/>
              <a:gd name="connsiteY5" fmla="*/ 344209 h 421058"/>
              <a:gd name="connsiteX6" fmla="*/ 704342 w 713142"/>
              <a:gd name="connsiteY6" fmla="*/ 281626 h 421058"/>
              <a:gd name="connsiteX7" fmla="*/ 707819 w 713142"/>
              <a:gd name="connsiteY7" fmla="*/ 198183 h 421058"/>
              <a:gd name="connsiteX8" fmla="*/ 655667 w 713142"/>
              <a:gd name="connsiteY8" fmla="*/ 139077 h 421058"/>
              <a:gd name="connsiteX9" fmla="*/ 547886 w 713142"/>
              <a:gd name="connsiteY9" fmla="*/ 97355 h 421058"/>
              <a:gd name="connsiteX10" fmla="*/ 422721 w 713142"/>
              <a:gd name="connsiteY10" fmla="*/ 69541 h 421058"/>
              <a:gd name="connsiteX11" fmla="*/ 356662 w 713142"/>
              <a:gd name="connsiteY11" fmla="*/ 5 h 421058"/>
              <a:gd name="connsiteX12" fmla="*/ 290831 w 713142"/>
              <a:gd name="connsiteY12" fmla="*/ 73094 h 421058"/>
              <a:gd name="connsiteX13" fmla="*/ 156993 w 713142"/>
              <a:gd name="connsiteY13" fmla="*/ 100747 h 421058"/>
              <a:gd name="connsiteX14" fmla="*/ 22888 w 713142"/>
              <a:gd name="connsiteY14" fmla="*/ 170368 h 421058"/>
              <a:gd name="connsiteX15" fmla="*/ 5504 w 713142"/>
              <a:gd name="connsiteY15" fmla="*/ 274673 h 421058"/>
              <a:gd name="connsiteX16" fmla="*/ 81994 w 713142"/>
              <a:gd name="connsiteY16" fmla="*/ 354639 h 421058"/>
              <a:gd name="connsiteX17" fmla="*/ 172391 w 713142"/>
              <a:gd name="connsiteY17" fmla="*/ 368546 h 421058"/>
              <a:gd name="connsiteX18" fmla="*/ 250716 w 713142"/>
              <a:gd name="connsiteY18" fmla="*/ 338940 h 421058"/>
              <a:gd name="connsiteX19" fmla="*/ 307986 w 713142"/>
              <a:gd name="connsiteY19" fmla="*/ 305964 h 421058"/>
              <a:gd name="connsiteX20" fmla="*/ 293073 w 713142"/>
              <a:gd name="connsiteY20" fmla="*/ 368842 h 421058"/>
              <a:gd name="connsiteX21" fmla="*/ 189012 w 713142"/>
              <a:gd name="connsiteY21" fmla="*/ 410311 h 421058"/>
              <a:gd name="connsiteX0" fmla="*/ 542833 w 713142"/>
              <a:gd name="connsiteY0" fmla="*/ 420931 h 420998"/>
              <a:gd name="connsiteX1" fmla="*/ 419072 w 713142"/>
              <a:gd name="connsiteY1" fmla="*/ 372067 h 420998"/>
              <a:gd name="connsiteX2" fmla="*/ 411243 w 713142"/>
              <a:gd name="connsiteY2" fmla="*/ 308306 h 420998"/>
              <a:gd name="connsiteX3" fmla="*/ 481827 w 713142"/>
              <a:gd name="connsiteY3" fmla="*/ 351162 h 420998"/>
              <a:gd name="connsiteX4" fmla="*/ 568747 w 713142"/>
              <a:gd name="connsiteY4" fmla="*/ 365070 h 420998"/>
              <a:gd name="connsiteX5" fmla="*/ 645236 w 713142"/>
              <a:gd name="connsiteY5" fmla="*/ 344209 h 420998"/>
              <a:gd name="connsiteX6" fmla="*/ 704342 w 713142"/>
              <a:gd name="connsiteY6" fmla="*/ 281626 h 420998"/>
              <a:gd name="connsiteX7" fmla="*/ 707819 w 713142"/>
              <a:gd name="connsiteY7" fmla="*/ 198183 h 420998"/>
              <a:gd name="connsiteX8" fmla="*/ 655667 w 713142"/>
              <a:gd name="connsiteY8" fmla="*/ 139077 h 420998"/>
              <a:gd name="connsiteX9" fmla="*/ 547886 w 713142"/>
              <a:gd name="connsiteY9" fmla="*/ 97355 h 420998"/>
              <a:gd name="connsiteX10" fmla="*/ 422721 w 713142"/>
              <a:gd name="connsiteY10" fmla="*/ 69541 h 420998"/>
              <a:gd name="connsiteX11" fmla="*/ 356662 w 713142"/>
              <a:gd name="connsiteY11" fmla="*/ 5 h 420998"/>
              <a:gd name="connsiteX12" fmla="*/ 290831 w 713142"/>
              <a:gd name="connsiteY12" fmla="*/ 73094 h 420998"/>
              <a:gd name="connsiteX13" fmla="*/ 156993 w 713142"/>
              <a:gd name="connsiteY13" fmla="*/ 100747 h 420998"/>
              <a:gd name="connsiteX14" fmla="*/ 22888 w 713142"/>
              <a:gd name="connsiteY14" fmla="*/ 170368 h 420998"/>
              <a:gd name="connsiteX15" fmla="*/ 5504 w 713142"/>
              <a:gd name="connsiteY15" fmla="*/ 274673 h 420998"/>
              <a:gd name="connsiteX16" fmla="*/ 81994 w 713142"/>
              <a:gd name="connsiteY16" fmla="*/ 354639 h 420998"/>
              <a:gd name="connsiteX17" fmla="*/ 172391 w 713142"/>
              <a:gd name="connsiteY17" fmla="*/ 368546 h 420998"/>
              <a:gd name="connsiteX18" fmla="*/ 250716 w 713142"/>
              <a:gd name="connsiteY18" fmla="*/ 338940 h 420998"/>
              <a:gd name="connsiteX19" fmla="*/ 307986 w 713142"/>
              <a:gd name="connsiteY19" fmla="*/ 305964 h 420998"/>
              <a:gd name="connsiteX20" fmla="*/ 293073 w 713142"/>
              <a:gd name="connsiteY20" fmla="*/ 368842 h 420998"/>
              <a:gd name="connsiteX21" fmla="*/ 189012 w 713142"/>
              <a:gd name="connsiteY21" fmla="*/ 410311 h 420998"/>
              <a:gd name="connsiteX0" fmla="*/ 542833 w 713142"/>
              <a:gd name="connsiteY0" fmla="*/ 420931 h 421011"/>
              <a:gd name="connsiteX1" fmla="*/ 419072 w 713142"/>
              <a:gd name="connsiteY1" fmla="*/ 372067 h 421011"/>
              <a:gd name="connsiteX2" fmla="*/ 411243 w 713142"/>
              <a:gd name="connsiteY2" fmla="*/ 308306 h 421011"/>
              <a:gd name="connsiteX3" fmla="*/ 481827 w 713142"/>
              <a:gd name="connsiteY3" fmla="*/ 351162 h 421011"/>
              <a:gd name="connsiteX4" fmla="*/ 568747 w 713142"/>
              <a:gd name="connsiteY4" fmla="*/ 365070 h 421011"/>
              <a:gd name="connsiteX5" fmla="*/ 645236 w 713142"/>
              <a:gd name="connsiteY5" fmla="*/ 344209 h 421011"/>
              <a:gd name="connsiteX6" fmla="*/ 704342 w 713142"/>
              <a:gd name="connsiteY6" fmla="*/ 281626 h 421011"/>
              <a:gd name="connsiteX7" fmla="*/ 707819 w 713142"/>
              <a:gd name="connsiteY7" fmla="*/ 198183 h 421011"/>
              <a:gd name="connsiteX8" fmla="*/ 655667 w 713142"/>
              <a:gd name="connsiteY8" fmla="*/ 139077 h 421011"/>
              <a:gd name="connsiteX9" fmla="*/ 547886 w 713142"/>
              <a:gd name="connsiteY9" fmla="*/ 97355 h 421011"/>
              <a:gd name="connsiteX10" fmla="*/ 422721 w 713142"/>
              <a:gd name="connsiteY10" fmla="*/ 69541 h 421011"/>
              <a:gd name="connsiteX11" fmla="*/ 356662 w 713142"/>
              <a:gd name="connsiteY11" fmla="*/ 5 h 421011"/>
              <a:gd name="connsiteX12" fmla="*/ 290831 w 713142"/>
              <a:gd name="connsiteY12" fmla="*/ 73094 h 421011"/>
              <a:gd name="connsiteX13" fmla="*/ 156993 w 713142"/>
              <a:gd name="connsiteY13" fmla="*/ 100747 h 421011"/>
              <a:gd name="connsiteX14" fmla="*/ 22888 w 713142"/>
              <a:gd name="connsiteY14" fmla="*/ 170368 h 421011"/>
              <a:gd name="connsiteX15" fmla="*/ 5504 w 713142"/>
              <a:gd name="connsiteY15" fmla="*/ 274673 h 421011"/>
              <a:gd name="connsiteX16" fmla="*/ 81994 w 713142"/>
              <a:gd name="connsiteY16" fmla="*/ 354639 h 421011"/>
              <a:gd name="connsiteX17" fmla="*/ 172391 w 713142"/>
              <a:gd name="connsiteY17" fmla="*/ 368546 h 421011"/>
              <a:gd name="connsiteX18" fmla="*/ 250716 w 713142"/>
              <a:gd name="connsiteY18" fmla="*/ 338940 h 421011"/>
              <a:gd name="connsiteX19" fmla="*/ 307986 w 713142"/>
              <a:gd name="connsiteY19" fmla="*/ 305964 h 421011"/>
              <a:gd name="connsiteX20" fmla="*/ 293073 w 713142"/>
              <a:gd name="connsiteY20" fmla="*/ 368842 h 421011"/>
              <a:gd name="connsiteX21" fmla="*/ 189012 w 713142"/>
              <a:gd name="connsiteY21" fmla="*/ 410311 h 42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13142" h="421011">
                <a:moveTo>
                  <a:pt x="542833" y="420931"/>
                </a:moveTo>
                <a:cubicBezTo>
                  <a:pt x="499836" y="422659"/>
                  <a:pt x="432258" y="396085"/>
                  <a:pt x="419072" y="372067"/>
                </a:cubicBezTo>
                <a:cubicBezTo>
                  <a:pt x="405886" y="348049"/>
                  <a:pt x="400784" y="311790"/>
                  <a:pt x="411243" y="308306"/>
                </a:cubicBezTo>
                <a:cubicBezTo>
                  <a:pt x="421702" y="304822"/>
                  <a:pt x="455576" y="341701"/>
                  <a:pt x="481827" y="351162"/>
                </a:cubicBezTo>
                <a:cubicBezTo>
                  <a:pt x="508078" y="360623"/>
                  <a:pt x="541512" y="366229"/>
                  <a:pt x="568747" y="365070"/>
                </a:cubicBezTo>
                <a:cubicBezTo>
                  <a:pt x="595982" y="363911"/>
                  <a:pt x="622637" y="358116"/>
                  <a:pt x="645236" y="344209"/>
                </a:cubicBezTo>
                <a:cubicBezTo>
                  <a:pt x="667835" y="330302"/>
                  <a:pt x="693911" y="305964"/>
                  <a:pt x="704342" y="281626"/>
                </a:cubicBezTo>
                <a:cubicBezTo>
                  <a:pt x="714773" y="257288"/>
                  <a:pt x="715931" y="221941"/>
                  <a:pt x="707819" y="198183"/>
                </a:cubicBezTo>
                <a:cubicBezTo>
                  <a:pt x="699707" y="174425"/>
                  <a:pt x="682322" y="155882"/>
                  <a:pt x="655667" y="139077"/>
                </a:cubicBezTo>
                <a:cubicBezTo>
                  <a:pt x="629012" y="122272"/>
                  <a:pt x="586710" y="108944"/>
                  <a:pt x="547886" y="97355"/>
                </a:cubicBezTo>
                <a:cubicBezTo>
                  <a:pt x="509062" y="85766"/>
                  <a:pt x="454012" y="84607"/>
                  <a:pt x="422721" y="69541"/>
                </a:cubicBezTo>
                <a:cubicBezTo>
                  <a:pt x="391430" y="54475"/>
                  <a:pt x="366742" y="-587"/>
                  <a:pt x="356662" y="5"/>
                </a:cubicBezTo>
                <a:cubicBezTo>
                  <a:pt x="346582" y="597"/>
                  <a:pt x="324109" y="56304"/>
                  <a:pt x="290831" y="73094"/>
                </a:cubicBezTo>
                <a:cubicBezTo>
                  <a:pt x="257553" y="89884"/>
                  <a:pt x="213894" y="89782"/>
                  <a:pt x="156993" y="100747"/>
                </a:cubicBezTo>
                <a:cubicBezTo>
                  <a:pt x="100092" y="111712"/>
                  <a:pt x="48136" y="141380"/>
                  <a:pt x="22888" y="170368"/>
                </a:cubicBezTo>
                <a:cubicBezTo>
                  <a:pt x="-2360" y="199356"/>
                  <a:pt x="-4347" y="243961"/>
                  <a:pt x="5504" y="274673"/>
                </a:cubicBezTo>
                <a:cubicBezTo>
                  <a:pt x="15355" y="305385"/>
                  <a:pt x="54180" y="338994"/>
                  <a:pt x="81994" y="354639"/>
                </a:cubicBezTo>
                <a:cubicBezTo>
                  <a:pt x="109808" y="370284"/>
                  <a:pt x="144271" y="371162"/>
                  <a:pt x="172391" y="368546"/>
                </a:cubicBezTo>
                <a:cubicBezTo>
                  <a:pt x="200511" y="365930"/>
                  <a:pt x="228117" y="349370"/>
                  <a:pt x="250716" y="338940"/>
                </a:cubicBezTo>
                <a:cubicBezTo>
                  <a:pt x="273315" y="328510"/>
                  <a:pt x="300927" y="300980"/>
                  <a:pt x="307986" y="305964"/>
                </a:cubicBezTo>
                <a:cubicBezTo>
                  <a:pt x="315045" y="310948"/>
                  <a:pt x="316400" y="335708"/>
                  <a:pt x="293073" y="368842"/>
                </a:cubicBezTo>
                <a:cubicBezTo>
                  <a:pt x="269746" y="401976"/>
                  <a:pt x="188991" y="413420"/>
                  <a:pt x="189012" y="410311"/>
                </a:cubicBez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Straight Connector 11"/>
          <p:cNvCxnSpPr>
            <a:endCxn id="7" idx="21"/>
          </p:cNvCxnSpPr>
          <p:nvPr userDrawn="1"/>
        </p:nvCxnSpPr>
        <p:spPr>
          <a:xfrm>
            <a:off x="1" y="6227124"/>
            <a:ext cx="7039606" cy="2874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7" idx="0"/>
          </p:cNvCxnSpPr>
          <p:nvPr userDrawn="1"/>
        </p:nvCxnSpPr>
        <p:spPr>
          <a:xfrm flipV="1">
            <a:off x="8519312" y="6263711"/>
            <a:ext cx="1387169" cy="3656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38116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accent6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7" name="Freeform 897"/>
          <p:cNvSpPr>
            <a:spLocks/>
          </p:cNvSpPr>
          <p:nvPr userDrawn="1"/>
        </p:nvSpPr>
        <p:spPr bwMode="auto">
          <a:xfrm>
            <a:off x="6711974" y="3527650"/>
            <a:ext cx="2051026" cy="2747710"/>
          </a:xfrm>
          <a:custGeom>
            <a:avLst/>
            <a:gdLst>
              <a:gd name="connsiteX0" fmla="*/ 4912 w 10000"/>
              <a:gd name="connsiteY0" fmla="*/ 10000 h 10000"/>
              <a:gd name="connsiteX1" fmla="*/ 2666 w 10000"/>
              <a:gd name="connsiteY1" fmla="*/ 10000 h 10000"/>
              <a:gd name="connsiteX2" fmla="*/ 6754 w 10000"/>
              <a:gd name="connsiteY2" fmla="*/ 10000 h 10000"/>
              <a:gd name="connsiteX3" fmla="*/ 8421 w 10000"/>
              <a:gd name="connsiteY3" fmla="*/ 9938 h 10000"/>
              <a:gd name="connsiteX4" fmla="*/ 9561 w 10000"/>
              <a:gd name="connsiteY4" fmla="*/ 9814 h 10000"/>
              <a:gd name="connsiteX5" fmla="*/ 9912 w 10000"/>
              <a:gd name="connsiteY5" fmla="*/ 9752 h 10000"/>
              <a:gd name="connsiteX6" fmla="*/ 10000 w 10000"/>
              <a:gd name="connsiteY6" fmla="*/ 9689 h 10000"/>
              <a:gd name="connsiteX7" fmla="*/ 10000 w 10000"/>
              <a:gd name="connsiteY7" fmla="*/ 9689 h 10000"/>
              <a:gd name="connsiteX8" fmla="*/ 10000 w 10000"/>
              <a:gd name="connsiteY8" fmla="*/ 8634 h 10000"/>
              <a:gd name="connsiteX9" fmla="*/ 9912 w 10000"/>
              <a:gd name="connsiteY9" fmla="*/ 7702 h 10000"/>
              <a:gd name="connsiteX10" fmla="*/ 9561 w 10000"/>
              <a:gd name="connsiteY10" fmla="*/ 6832 h 10000"/>
              <a:gd name="connsiteX11" fmla="*/ 9211 w 10000"/>
              <a:gd name="connsiteY11" fmla="*/ 6087 h 10000"/>
              <a:gd name="connsiteX12" fmla="*/ 8684 w 10000"/>
              <a:gd name="connsiteY12" fmla="*/ 5342 h 10000"/>
              <a:gd name="connsiteX13" fmla="*/ 7982 w 10000"/>
              <a:gd name="connsiteY13" fmla="*/ 4783 h 10000"/>
              <a:gd name="connsiteX14" fmla="*/ 7105 w 10000"/>
              <a:gd name="connsiteY14" fmla="*/ 4410 h 10000"/>
              <a:gd name="connsiteX15" fmla="*/ 6140 w 10000"/>
              <a:gd name="connsiteY15" fmla="*/ 4099 h 10000"/>
              <a:gd name="connsiteX16" fmla="*/ 6140 w 10000"/>
              <a:gd name="connsiteY16" fmla="*/ 4099 h 10000"/>
              <a:gd name="connsiteX17" fmla="*/ 6667 w 10000"/>
              <a:gd name="connsiteY17" fmla="*/ 3727 h 10000"/>
              <a:gd name="connsiteX18" fmla="*/ 7018 w 10000"/>
              <a:gd name="connsiteY18" fmla="*/ 3230 h 10000"/>
              <a:gd name="connsiteX19" fmla="*/ 7281 w 10000"/>
              <a:gd name="connsiteY19" fmla="*/ 2671 h 10000"/>
              <a:gd name="connsiteX20" fmla="*/ 7544 w 10000"/>
              <a:gd name="connsiteY20" fmla="*/ 2112 h 10000"/>
              <a:gd name="connsiteX21" fmla="*/ 7544 w 10000"/>
              <a:gd name="connsiteY21" fmla="*/ 2112 h 10000"/>
              <a:gd name="connsiteX22" fmla="*/ 7456 w 10000"/>
              <a:gd name="connsiteY22" fmla="*/ 1677 h 10000"/>
              <a:gd name="connsiteX23" fmla="*/ 7281 w 10000"/>
              <a:gd name="connsiteY23" fmla="*/ 1242 h 10000"/>
              <a:gd name="connsiteX24" fmla="*/ 7105 w 10000"/>
              <a:gd name="connsiteY24" fmla="*/ 870 h 10000"/>
              <a:gd name="connsiteX25" fmla="*/ 6754 w 10000"/>
              <a:gd name="connsiteY25" fmla="*/ 559 h 10000"/>
              <a:gd name="connsiteX26" fmla="*/ 6404 w 10000"/>
              <a:gd name="connsiteY26" fmla="*/ 311 h 10000"/>
              <a:gd name="connsiteX27" fmla="*/ 5965 w 10000"/>
              <a:gd name="connsiteY27" fmla="*/ 186 h 10000"/>
              <a:gd name="connsiteX28" fmla="*/ 5526 w 10000"/>
              <a:gd name="connsiteY28" fmla="*/ 0 h 10000"/>
              <a:gd name="connsiteX29" fmla="*/ 5000 w 10000"/>
              <a:gd name="connsiteY29" fmla="*/ 0 h 10000"/>
              <a:gd name="connsiteX30" fmla="*/ 5000 w 10000"/>
              <a:gd name="connsiteY30" fmla="*/ 0 h 10000"/>
              <a:gd name="connsiteX31" fmla="*/ 4561 w 10000"/>
              <a:gd name="connsiteY31" fmla="*/ 0 h 10000"/>
              <a:gd name="connsiteX32" fmla="*/ 4123 w 10000"/>
              <a:gd name="connsiteY32" fmla="*/ 186 h 10000"/>
              <a:gd name="connsiteX33" fmla="*/ 3684 w 10000"/>
              <a:gd name="connsiteY33" fmla="*/ 311 h 10000"/>
              <a:gd name="connsiteX34" fmla="*/ 3246 w 10000"/>
              <a:gd name="connsiteY34" fmla="*/ 559 h 10000"/>
              <a:gd name="connsiteX35" fmla="*/ 2982 w 10000"/>
              <a:gd name="connsiteY35" fmla="*/ 870 h 10000"/>
              <a:gd name="connsiteX36" fmla="*/ 2719 w 10000"/>
              <a:gd name="connsiteY36" fmla="*/ 1242 h 10000"/>
              <a:gd name="connsiteX37" fmla="*/ 2544 w 10000"/>
              <a:gd name="connsiteY37" fmla="*/ 1677 h 10000"/>
              <a:gd name="connsiteX38" fmla="*/ 2544 w 10000"/>
              <a:gd name="connsiteY38" fmla="*/ 2112 h 10000"/>
              <a:gd name="connsiteX39" fmla="*/ 2544 w 10000"/>
              <a:gd name="connsiteY39" fmla="*/ 2112 h 10000"/>
              <a:gd name="connsiteX40" fmla="*/ 2632 w 10000"/>
              <a:gd name="connsiteY40" fmla="*/ 2671 h 10000"/>
              <a:gd name="connsiteX41" fmla="*/ 2982 w 10000"/>
              <a:gd name="connsiteY41" fmla="*/ 3230 h 10000"/>
              <a:gd name="connsiteX42" fmla="*/ 3421 w 10000"/>
              <a:gd name="connsiteY42" fmla="*/ 3727 h 10000"/>
              <a:gd name="connsiteX43" fmla="*/ 3860 w 10000"/>
              <a:gd name="connsiteY43" fmla="*/ 4099 h 10000"/>
              <a:gd name="connsiteX44" fmla="*/ 3860 w 10000"/>
              <a:gd name="connsiteY44" fmla="*/ 4099 h 10000"/>
              <a:gd name="connsiteX45" fmla="*/ 2895 w 10000"/>
              <a:gd name="connsiteY45" fmla="*/ 4410 h 10000"/>
              <a:gd name="connsiteX46" fmla="*/ 2105 w 10000"/>
              <a:gd name="connsiteY46" fmla="*/ 4783 h 10000"/>
              <a:gd name="connsiteX47" fmla="*/ 1404 w 10000"/>
              <a:gd name="connsiteY47" fmla="*/ 5342 h 10000"/>
              <a:gd name="connsiteX48" fmla="*/ 877 w 10000"/>
              <a:gd name="connsiteY48" fmla="*/ 6087 h 10000"/>
              <a:gd name="connsiteX49" fmla="*/ 439 w 10000"/>
              <a:gd name="connsiteY49" fmla="*/ 6832 h 10000"/>
              <a:gd name="connsiteX50" fmla="*/ 175 w 10000"/>
              <a:gd name="connsiteY50" fmla="*/ 7702 h 10000"/>
              <a:gd name="connsiteX51" fmla="*/ 0 w 10000"/>
              <a:gd name="connsiteY51" fmla="*/ 8634 h 10000"/>
              <a:gd name="connsiteX52" fmla="*/ 0 w 10000"/>
              <a:gd name="connsiteY52" fmla="*/ 9689 h 10000"/>
              <a:gd name="connsiteX0" fmla="*/ 4912 w 10000"/>
              <a:gd name="connsiteY0" fmla="*/ 10000 h 10000"/>
              <a:gd name="connsiteX1" fmla="*/ 6754 w 10000"/>
              <a:gd name="connsiteY1" fmla="*/ 10000 h 10000"/>
              <a:gd name="connsiteX2" fmla="*/ 8421 w 10000"/>
              <a:gd name="connsiteY2" fmla="*/ 9938 h 10000"/>
              <a:gd name="connsiteX3" fmla="*/ 9561 w 10000"/>
              <a:gd name="connsiteY3" fmla="*/ 9814 h 10000"/>
              <a:gd name="connsiteX4" fmla="*/ 9912 w 10000"/>
              <a:gd name="connsiteY4" fmla="*/ 9752 h 10000"/>
              <a:gd name="connsiteX5" fmla="*/ 10000 w 10000"/>
              <a:gd name="connsiteY5" fmla="*/ 9689 h 10000"/>
              <a:gd name="connsiteX6" fmla="*/ 10000 w 10000"/>
              <a:gd name="connsiteY6" fmla="*/ 9689 h 10000"/>
              <a:gd name="connsiteX7" fmla="*/ 10000 w 10000"/>
              <a:gd name="connsiteY7" fmla="*/ 8634 h 10000"/>
              <a:gd name="connsiteX8" fmla="*/ 9912 w 10000"/>
              <a:gd name="connsiteY8" fmla="*/ 7702 h 10000"/>
              <a:gd name="connsiteX9" fmla="*/ 9561 w 10000"/>
              <a:gd name="connsiteY9" fmla="*/ 6832 h 10000"/>
              <a:gd name="connsiteX10" fmla="*/ 9211 w 10000"/>
              <a:gd name="connsiteY10" fmla="*/ 6087 h 10000"/>
              <a:gd name="connsiteX11" fmla="*/ 8684 w 10000"/>
              <a:gd name="connsiteY11" fmla="*/ 5342 h 10000"/>
              <a:gd name="connsiteX12" fmla="*/ 7982 w 10000"/>
              <a:gd name="connsiteY12" fmla="*/ 4783 h 10000"/>
              <a:gd name="connsiteX13" fmla="*/ 7105 w 10000"/>
              <a:gd name="connsiteY13" fmla="*/ 4410 h 10000"/>
              <a:gd name="connsiteX14" fmla="*/ 6140 w 10000"/>
              <a:gd name="connsiteY14" fmla="*/ 4099 h 10000"/>
              <a:gd name="connsiteX15" fmla="*/ 6140 w 10000"/>
              <a:gd name="connsiteY15" fmla="*/ 4099 h 10000"/>
              <a:gd name="connsiteX16" fmla="*/ 6667 w 10000"/>
              <a:gd name="connsiteY16" fmla="*/ 3727 h 10000"/>
              <a:gd name="connsiteX17" fmla="*/ 7018 w 10000"/>
              <a:gd name="connsiteY17" fmla="*/ 3230 h 10000"/>
              <a:gd name="connsiteX18" fmla="*/ 7281 w 10000"/>
              <a:gd name="connsiteY18" fmla="*/ 2671 h 10000"/>
              <a:gd name="connsiteX19" fmla="*/ 7544 w 10000"/>
              <a:gd name="connsiteY19" fmla="*/ 2112 h 10000"/>
              <a:gd name="connsiteX20" fmla="*/ 7544 w 10000"/>
              <a:gd name="connsiteY20" fmla="*/ 2112 h 10000"/>
              <a:gd name="connsiteX21" fmla="*/ 7456 w 10000"/>
              <a:gd name="connsiteY21" fmla="*/ 1677 h 10000"/>
              <a:gd name="connsiteX22" fmla="*/ 7281 w 10000"/>
              <a:gd name="connsiteY22" fmla="*/ 1242 h 10000"/>
              <a:gd name="connsiteX23" fmla="*/ 7105 w 10000"/>
              <a:gd name="connsiteY23" fmla="*/ 870 h 10000"/>
              <a:gd name="connsiteX24" fmla="*/ 6754 w 10000"/>
              <a:gd name="connsiteY24" fmla="*/ 559 h 10000"/>
              <a:gd name="connsiteX25" fmla="*/ 6404 w 10000"/>
              <a:gd name="connsiteY25" fmla="*/ 311 h 10000"/>
              <a:gd name="connsiteX26" fmla="*/ 5965 w 10000"/>
              <a:gd name="connsiteY26" fmla="*/ 186 h 10000"/>
              <a:gd name="connsiteX27" fmla="*/ 5526 w 10000"/>
              <a:gd name="connsiteY27" fmla="*/ 0 h 10000"/>
              <a:gd name="connsiteX28" fmla="*/ 5000 w 10000"/>
              <a:gd name="connsiteY28" fmla="*/ 0 h 10000"/>
              <a:gd name="connsiteX29" fmla="*/ 5000 w 10000"/>
              <a:gd name="connsiteY29" fmla="*/ 0 h 10000"/>
              <a:gd name="connsiteX30" fmla="*/ 4561 w 10000"/>
              <a:gd name="connsiteY30" fmla="*/ 0 h 10000"/>
              <a:gd name="connsiteX31" fmla="*/ 4123 w 10000"/>
              <a:gd name="connsiteY31" fmla="*/ 186 h 10000"/>
              <a:gd name="connsiteX32" fmla="*/ 3684 w 10000"/>
              <a:gd name="connsiteY32" fmla="*/ 311 h 10000"/>
              <a:gd name="connsiteX33" fmla="*/ 3246 w 10000"/>
              <a:gd name="connsiteY33" fmla="*/ 559 h 10000"/>
              <a:gd name="connsiteX34" fmla="*/ 2982 w 10000"/>
              <a:gd name="connsiteY34" fmla="*/ 870 h 10000"/>
              <a:gd name="connsiteX35" fmla="*/ 2719 w 10000"/>
              <a:gd name="connsiteY35" fmla="*/ 1242 h 10000"/>
              <a:gd name="connsiteX36" fmla="*/ 2544 w 10000"/>
              <a:gd name="connsiteY36" fmla="*/ 1677 h 10000"/>
              <a:gd name="connsiteX37" fmla="*/ 2544 w 10000"/>
              <a:gd name="connsiteY37" fmla="*/ 2112 h 10000"/>
              <a:gd name="connsiteX38" fmla="*/ 2544 w 10000"/>
              <a:gd name="connsiteY38" fmla="*/ 2112 h 10000"/>
              <a:gd name="connsiteX39" fmla="*/ 2632 w 10000"/>
              <a:gd name="connsiteY39" fmla="*/ 2671 h 10000"/>
              <a:gd name="connsiteX40" fmla="*/ 2982 w 10000"/>
              <a:gd name="connsiteY40" fmla="*/ 3230 h 10000"/>
              <a:gd name="connsiteX41" fmla="*/ 3421 w 10000"/>
              <a:gd name="connsiteY41" fmla="*/ 3727 h 10000"/>
              <a:gd name="connsiteX42" fmla="*/ 3860 w 10000"/>
              <a:gd name="connsiteY42" fmla="*/ 4099 h 10000"/>
              <a:gd name="connsiteX43" fmla="*/ 3860 w 10000"/>
              <a:gd name="connsiteY43" fmla="*/ 4099 h 10000"/>
              <a:gd name="connsiteX44" fmla="*/ 2895 w 10000"/>
              <a:gd name="connsiteY44" fmla="*/ 4410 h 10000"/>
              <a:gd name="connsiteX45" fmla="*/ 2105 w 10000"/>
              <a:gd name="connsiteY45" fmla="*/ 4783 h 10000"/>
              <a:gd name="connsiteX46" fmla="*/ 1404 w 10000"/>
              <a:gd name="connsiteY46" fmla="*/ 5342 h 10000"/>
              <a:gd name="connsiteX47" fmla="*/ 877 w 10000"/>
              <a:gd name="connsiteY47" fmla="*/ 6087 h 10000"/>
              <a:gd name="connsiteX48" fmla="*/ 439 w 10000"/>
              <a:gd name="connsiteY48" fmla="*/ 6832 h 10000"/>
              <a:gd name="connsiteX49" fmla="*/ 175 w 10000"/>
              <a:gd name="connsiteY49" fmla="*/ 7702 h 10000"/>
              <a:gd name="connsiteX50" fmla="*/ 0 w 10000"/>
              <a:gd name="connsiteY50" fmla="*/ 8634 h 10000"/>
              <a:gd name="connsiteX51" fmla="*/ 0 w 10000"/>
              <a:gd name="connsiteY51" fmla="*/ 9689 h 10000"/>
              <a:gd name="connsiteX0" fmla="*/ 6754 w 10000"/>
              <a:gd name="connsiteY0" fmla="*/ 10000 h 10000"/>
              <a:gd name="connsiteX1" fmla="*/ 8421 w 10000"/>
              <a:gd name="connsiteY1" fmla="*/ 9938 h 10000"/>
              <a:gd name="connsiteX2" fmla="*/ 9561 w 10000"/>
              <a:gd name="connsiteY2" fmla="*/ 9814 h 10000"/>
              <a:gd name="connsiteX3" fmla="*/ 9912 w 10000"/>
              <a:gd name="connsiteY3" fmla="*/ 9752 h 10000"/>
              <a:gd name="connsiteX4" fmla="*/ 10000 w 10000"/>
              <a:gd name="connsiteY4" fmla="*/ 9689 h 10000"/>
              <a:gd name="connsiteX5" fmla="*/ 10000 w 10000"/>
              <a:gd name="connsiteY5" fmla="*/ 9689 h 10000"/>
              <a:gd name="connsiteX6" fmla="*/ 10000 w 10000"/>
              <a:gd name="connsiteY6" fmla="*/ 8634 h 10000"/>
              <a:gd name="connsiteX7" fmla="*/ 9912 w 10000"/>
              <a:gd name="connsiteY7" fmla="*/ 7702 h 10000"/>
              <a:gd name="connsiteX8" fmla="*/ 9561 w 10000"/>
              <a:gd name="connsiteY8" fmla="*/ 6832 h 10000"/>
              <a:gd name="connsiteX9" fmla="*/ 9211 w 10000"/>
              <a:gd name="connsiteY9" fmla="*/ 6087 h 10000"/>
              <a:gd name="connsiteX10" fmla="*/ 8684 w 10000"/>
              <a:gd name="connsiteY10" fmla="*/ 5342 h 10000"/>
              <a:gd name="connsiteX11" fmla="*/ 7982 w 10000"/>
              <a:gd name="connsiteY11" fmla="*/ 4783 h 10000"/>
              <a:gd name="connsiteX12" fmla="*/ 7105 w 10000"/>
              <a:gd name="connsiteY12" fmla="*/ 4410 h 10000"/>
              <a:gd name="connsiteX13" fmla="*/ 6140 w 10000"/>
              <a:gd name="connsiteY13" fmla="*/ 4099 h 10000"/>
              <a:gd name="connsiteX14" fmla="*/ 6140 w 10000"/>
              <a:gd name="connsiteY14" fmla="*/ 4099 h 10000"/>
              <a:gd name="connsiteX15" fmla="*/ 6667 w 10000"/>
              <a:gd name="connsiteY15" fmla="*/ 3727 h 10000"/>
              <a:gd name="connsiteX16" fmla="*/ 7018 w 10000"/>
              <a:gd name="connsiteY16" fmla="*/ 3230 h 10000"/>
              <a:gd name="connsiteX17" fmla="*/ 7281 w 10000"/>
              <a:gd name="connsiteY17" fmla="*/ 2671 h 10000"/>
              <a:gd name="connsiteX18" fmla="*/ 7544 w 10000"/>
              <a:gd name="connsiteY18" fmla="*/ 2112 h 10000"/>
              <a:gd name="connsiteX19" fmla="*/ 7544 w 10000"/>
              <a:gd name="connsiteY19" fmla="*/ 2112 h 10000"/>
              <a:gd name="connsiteX20" fmla="*/ 7456 w 10000"/>
              <a:gd name="connsiteY20" fmla="*/ 1677 h 10000"/>
              <a:gd name="connsiteX21" fmla="*/ 7281 w 10000"/>
              <a:gd name="connsiteY21" fmla="*/ 1242 h 10000"/>
              <a:gd name="connsiteX22" fmla="*/ 7105 w 10000"/>
              <a:gd name="connsiteY22" fmla="*/ 870 h 10000"/>
              <a:gd name="connsiteX23" fmla="*/ 6754 w 10000"/>
              <a:gd name="connsiteY23" fmla="*/ 559 h 10000"/>
              <a:gd name="connsiteX24" fmla="*/ 6404 w 10000"/>
              <a:gd name="connsiteY24" fmla="*/ 311 h 10000"/>
              <a:gd name="connsiteX25" fmla="*/ 5965 w 10000"/>
              <a:gd name="connsiteY25" fmla="*/ 186 h 10000"/>
              <a:gd name="connsiteX26" fmla="*/ 5526 w 10000"/>
              <a:gd name="connsiteY26" fmla="*/ 0 h 10000"/>
              <a:gd name="connsiteX27" fmla="*/ 5000 w 10000"/>
              <a:gd name="connsiteY27" fmla="*/ 0 h 10000"/>
              <a:gd name="connsiteX28" fmla="*/ 5000 w 10000"/>
              <a:gd name="connsiteY28" fmla="*/ 0 h 10000"/>
              <a:gd name="connsiteX29" fmla="*/ 4561 w 10000"/>
              <a:gd name="connsiteY29" fmla="*/ 0 h 10000"/>
              <a:gd name="connsiteX30" fmla="*/ 4123 w 10000"/>
              <a:gd name="connsiteY30" fmla="*/ 186 h 10000"/>
              <a:gd name="connsiteX31" fmla="*/ 3684 w 10000"/>
              <a:gd name="connsiteY31" fmla="*/ 311 h 10000"/>
              <a:gd name="connsiteX32" fmla="*/ 3246 w 10000"/>
              <a:gd name="connsiteY32" fmla="*/ 559 h 10000"/>
              <a:gd name="connsiteX33" fmla="*/ 2982 w 10000"/>
              <a:gd name="connsiteY33" fmla="*/ 870 h 10000"/>
              <a:gd name="connsiteX34" fmla="*/ 2719 w 10000"/>
              <a:gd name="connsiteY34" fmla="*/ 1242 h 10000"/>
              <a:gd name="connsiteX35" fmla="*/ 2544 w 10000"/>
              <a:gd name="connsiteY35" fmla="*/ 1677 h 10000"/>
              <a:gd name="connsiteX36" fmla="*/ 2544 w 10000"/>
              <a:gd name="connsiteY36" fmla="*/ 2112 h 10000"/>
              <a:gd name="connsiteX37" fmla="*/ 2544 w 10000"/>
              <a:gd name="connsiteY37" fmla="*/ 2112 h 10000"/>
              <a:gd name="connsiteX38" fmla="*/ 2632 w 10000"/>
              <a:gd name="connsiteY38" fmla="*/ 2671 h 10000"/>
              <a:gd name="connsiteX39" fmla="*/ 2982 w 10000"/>
              <a:gd name="connsiteY39" fmla="*/ 3230 h 10000"/>
              <a:gd name="connsiteX40" fmla="*/ 3421 w 10000"/>
              <a:gd name="connsiteY40" fmla="*/ 3727 h 10000"/>
              <a:gd name="connsiteX41" fmla="*/ 3860 w 10000"/>
              <a:gd name="connsiteY41" fmla="*/ 4099 h 10000"/>
              <a:gd name="connsiteX42" fmla="*/ 3860 w 10000"/>
              <a:gd name="connsiteY42" fmla="*/ 4099 h 10000"/>
              <a:gd name="connsiteX43" fmla="*/ 2895 w 10000"/>
              <a:gd name="connsiteY43" fmla="*/ 4410 h 10000"/>
              <a:gd name="connsiteX44" fmla="*/ 2105 w 10000"/>
              <a:gd name="connsiteY44" fmla="*/ 4783 h 10000"/>
              <a:gd name="connsiteX45" fmla="*/ 1404 w 10000"/>
              <a:gd name="connsiteY45" fmla="*/ 5342 h 10000"/>
              <a:gd name="connsiteX46" fmla="*/ 877 w 10000"/>
              <a:gd name="connsiteY46" fmla="*/ 6087 h 10000"/>
              <a:gd name="connsiteX47" fmla="*/ 439 w 10000"/>
              <a:gd name="connsiteY47" fmla="*/ 6832 h 10000"/>
              <a:gd name="connsiteX48" fmla="*/ 175 w 10000"/>
              <a:gd name="connsiteY48" fmla="*/ 7702 h 10000"/>
              <a:gd name="connsiteX49" fmla="*/ 0 w 10000"/>
              <a:gd name="connsiteY49" fmla="*/ 8634 h 10000"/>
              <a:gd name="connsiteX50" fmla="*/ 0 w 10000"/>
              <a:gd name="connsiteY50" fmla="*/ 9689 h 10000"/>
              <a:gd name="connsiteX0" fmla="*/ 8421 w 10000"/>
              <a:gd name="connsiteY0" fmla="*/ 9938 h 9938"/>
              <a:gd name="connsiteX1" fmla="*/ 9561 w 10000"/>
              <a:gd name="connsiteY1" fmla="*/ 9814 h 9938"/>
              <a:gd name="connsiteX2" fmla="*/ 9912 w 10000"/>
              <a:gd name="connsiteY2" fmla="*/ 9752 h 9938"/>
              <a:gd name="connsiteX3" fmla="*/ 10000 w 10000"/>
              <a:gd name="connsiteY3" fmla="*/ 9689 h 9938"/>
              <a:gd name="connsiteX4" fmla="*/ 10000 w 10000"/>
              <a:gd name="connsiteY4" fmla="*/ 9689 h 9938"/>
              <a:gd name="connsiteX5" fmla="*/ 10000 w 10000"/>
              <a:gd name="connsiteY5" fmla="*/ 8634 h 9938"/>
              <a:gd name="connsiteX6" fmla="*/ 9912 w 10000"/>
              <a:gd name="connsiteY6" fmla="*/ 7702 h 9938"/>
              <a:gd name="connsiteX7" fmla="*/ 9561 w 10000"/>
              <a:gd name="connsiteY7" fmla="*/ 6832 h 9938"/>
              <a:gd name="connsiteX8" fmla="*/ 9211 w 10000"/>
              <a:gd name="connsiteY8" fmla="*/ 6087 h 9938"/>
              <a:gd name="connsiteX9" fmla="*/ 8684 w 10000"/>
              <a:gd name="connsiteY9" fmla="*/ 5342 h 9938"/>
              <a:gd name="connsiteX10" fmla="*/ 7982 w 10000"/>
              <a:gd name="connsiteY10" fmla="*/ 4783 h 9938"/>
              <a:gd name="connsiteX11" fmla="*/ 7105 w 10000"/>
              <a:gd name="connsiteY11" fmla="*/ 4410 h 9938"/>
              <a:gd name="connsiteX12" fmla="*/ 6140 w 10000"/>
              <a:gd name="connsiteY12" fmla="*/ 4099 h 9938"/>
              <a:gd name="connsiteX13" fmla="*/ 6140 w 10000"/>
              <a:gd name="connsiteY13" fmla="*/ 4099 h 9938"/>
              <a:gd name="connsiteX14" fmla="*/ 6667 w 10000"/>
              <a:gd name="connsiteY14" fmla="*/ 3727 h 9938"/>
              <a:gd name="connsiteX15" fmla="*/ 7018 w 10000"/>
              <a:gd name="connsiteY15" fmla="*/ 3230 h 9938"/>
              <a:gd name="connsiteX16" fmla="*/ 7281 w 10000"/>
              <a:gd name="connsiteY16" fmla="*/ 2671 h 9938"/>
              <a:gd name="connsiteX17" fmla="*/ 7544 w 10000"/>
              <a:gd name="connsiteY17" fmla="*/ 2112 h 9938"/>
              <a:gd name="connsiteX18" fmla="*/ 7544 w 10000"/>
              <a:gd name="connsiteY18" fmla="*/ 2112 h 9938"/>
              <a:gd name="connsiteX19" fmla="*/ 7456 w 10000"/>
              <a:gd name="connsiteY19" fmla="*/ 1677 h 9938"/>
              <a:gd name="connsiteX20" fmla="*/ 7281 w 10000"/>
              <a:gd name="connsiteY20" fmla="*/ 1242 h 9938"/>
              <a:gd name="connsiteX21" fmla="*/ 7105 w 10000"/>
              <a:gd name="connsiteY21" fmla="*/ 870 h 9938"/>
              <a:gd name="connsiteX22" fmla="*/ 6754 w 10000"/>
              <a:gd name="connsiteY22" fmla="*/ 559 h 9938"/>
              <a:gd name="connsiteX23" fmla="*/ 6404 w 10000"/>
              <a:gd name="connsiteY23" fmla="*/ 311 h 9938"/>
              <a:gd name="connsiteX24" fmla="*/ 5965 w 10000"/>
              <a:gd name="connsiteY24" fmla="*/ 186 h 9938"/>
              <a:gd name="connsiteX25" fmla="*/ 5526 w 10000"/>
              <a:gd name="connsiteY25" fmla="*/ 0 h 9938"/>
              <a:gd name="connsiteX26" fmla="*/ 5000 w 10000"/>
              <a:gd name="connsiteY26" fmla="*/ 0 h 9938"/>
              <a:gd name="connsiteX27" fmla="*/ 5000 w 10000"/>
              <a:gd name="connsiteY27" fmla="*/ 0 h 9938"/>
              <a:gd name="connsiteX28" fmla="*/ 4561 w 10000"/>
              <a:gd name="connsiteY28" fmla="*/ 0 h 9938"/>
              <a:gd name="connsiteX29" fmla="*/ 4123 w 10000"/>
              <a:gd name="connsiteY29" fmla="*/ 186 h 9938"/>
              <a:gd name="connsiteX30" fmla="*/ 3684 w 10000"/>
              <a:gd name="connsiteY30" fmla="*/ 311 h 9938"/>
              <a:gd name="connsiteX31" fmla="*/ 3246 w 10000"/>
              <a:gd name="connsiteY31" fmla="*/ 559 h 9938"/>
              <a:gd name="connsiteX32" fmla="*/ 2982 w 10000"/>
              <a:gd name="connsiteY32" fmla="*/ 870 h 9938"/>
              <a:gd name="connsiteX33" fmla="*/ 2719 w 10000"/>
              <a:gd name="connsiteY33" fmla="*/ 1242 h 9938"/>
              <a:gd name="connsiteX34" fmla="*/ 2544 w 10000"/>
              <a:gd name="connsiteY34" fmla="*/ 1677 h 9938"/>
              <a:gd name="connsiteX35" fmla="*/ 2544 w 10000"/>
              <a:gd name="connsiteY35" fmla="*/ 2112 h 9938"/>
              <a:gd name="connsiteX36" fmla="*/ 2544 w 10000"/>
              <a:gd name="connsiteY36" fmla="*/ 2112 h 9938"/>
              <a:gd name="connsiteX37" fmla="*/ 2632 w 10000"/>
              <a:gd name="connsiteY37" fmla="*/ 2671 h 9938"/>
              <a:gd name="connsiteX38" fmla="*/ 2982 w 10000"/>
              <a:gd name="connsiteY38" fmla="*/ 3230 h 9938"/>
              <a:gd name="connsiteX39" fmla="*/ 3421 w 10000"/>
              <a:gd name="connsiteY39" fmla="*/ 3727 h 9938"/>
              <a:gd name="connsiteX40" fmla="*/ 3860 w 10000"/>
              <a:gd name="connsiteY40" fmla="*/ 4099 h 9938"/>
              <a:gd name="connsiteX41" fmla="*/ 3860 w 10000"/>
              <a:gd name="connsiteY41" fmla="*/ 4099 h 9938"/>
              <a:gd name="connsiteX42" fmla="*/ 2895 w 10000"/>
              <a:gd name="connsiteY42" fmla="*/ 4410 h 9938"/>
              <a:gd name="connsiteX43" fmla="*/ 2105 w 10000"/>
              <a:gd name="connsiteY43" fmla="*/ 4783 h 9938"/>
              <a:gd name="connsiteX44" fmla="*/ 1404 w 10000"/>
              <a:gd name="connsiteY44" fmla="*/ 5342 h 9938"/>
              <a:gd name="connsiteX45" fmla="*/ 877 w 10000"/>
              <a:gd name="connsiteY45" fmla="*/ 6087 h 9938"/>
              <a:gd name="connsiteX46" fmla="*/ 439 w 10000"/>
              <a:gd name="connsiteY46" fmla="*/ 6832 h 9938"/>
              <a:gd name="connsiteX47" fmla="*/ 175 w 10000"/>
              <a:gd name="connsiteY47" fmla="*/ 7702 h 9938"/>
              <a:gd name="connsiteX48" fmla="*/ 0 w 10000"/>
              <a:gd name="connsiteY48" fmla="*/ 8634 h 9938"/>
              <a:gd name="connsiteX49" fmla="*/ 0 w 10000"/>
              <a:gd name="connsiteY49" fmla="*/ 9689 h 9938"/>
              <a:gd name="connsiteX0" fmla="*/ 9561 w 10000"/>
              <a:gd name="connsiteY0" fmla="*/ 9875 h 9875"/>
              <a:gd name="connsiteX1" fmla="*/ 9912 w 10000"/>
              <a:gd name="connsiteY1" fmla="*/ 9813 h 9875"/>
              <a:gd name="connsiteX2" fmla="*/ 10000 w 10000"/>
              <a:gd name="connsiteY2" fmla="*/ 9749 h 9875"/>
              <a:gd name="connsiteX3" fmla="*/ 10000 w 10000"/>
              <a:gd name="connsiteY3" fmla="*/ 9749 h 9875"/>
              <a:gd name="connsiteX4" fmla="*/ 10000 w 10000"/>
              <a:gd name="connsiteY4" fmla="*/ 8688 h 9875"/>
              <a:gd name="connsiteX5" fmla="*/ 9912 w 10000"/>
              <a:gd name="connsiteY5" fmla="*/ 7750 h 9875"/>
              <a:gd name="connsiteX6" fmla="*/ 9561 w 10000"/>
              <a:gd name="connsiteY6" fmla="*/ 6875 h 9875"/>
              <a:gd name="connsiteX7" fmla="*/ 9211 w 10000"/>
              <a:gd name="connsiteY7" fmla="*/ 6125 h 9875"/>
              <a:gd name="connsiteX8" fmla="*/ 8684 w 10000"/>
              <a:gd name="connsiteY8" fmla="*/ 5375 h 9875"/>
              <a:gd name="connsiteX9" fmla="*/ 7982 w 10000"/>
              <a:gd name="connsiteY9" fmla="*/ 4813 h 9875"/>
              <a:gd name="connsiteX10" fmla="*/ 7105 w 10000"/>
              <a:gd name="connsiteY10" fmla="*/ 4438 h 9875"/>
              <a:gd name="connsiteX11" fmla="*/ 6140 w 10000"/>
              <a:gd name="connsiteY11" fmla="*/ 4125 h 9875"/>
              <a:gd name="connsiteX12" fmla="*/ 6140 w 10000"/>
              <a:gd name="connsiteY12" fmla="*/ 4125 h 9875"/>
              <a:gd name="connsiteX13" fmla="*/ 6667 w 10000"/>
              <a:gd name="connsiteY13" fmla="*/ 3750 h 9875"/>
              <a:gd name="connsiteX14" fmla="*/ 7018 w 10000"/>
              <a:gd name="connsiteY14" fmla="*/ 3250 h 9875"/>
              <a:gd name="connsiteX15" fmla="*/ 7281 w 10000"/>
              <a:gd name="connsiteY15" fmla="*/ 2688 h 9875"/>
              <a:gd name="connsiteX16" fmla="*/ 7544 w 10000"/>
              <a:gd name="connsiteY16" fmla="*/ 2125 h 9875"/>
              <a:gd name="connsiteX17" fmla="*/ 7544 w 10000"/>
              <a:gd name="connsiteY17" fmla="*/ 2125 h 9875"/>
              <a:gd name="connsiteX18" fmla="*/ 7456 w 10000"/>
              <a:gd name="connsiteY18" fmla="*/ 1687 h 9875"/>
              <a:gd name="connsiteX19" fmla="*/ 7281 w 10000"/>
              <a:gd name="connsiteY19" fmla="*/ 1250 h 9875"/>
              <a:gd name="connsiteX20" fmla="*/ 7105 w 10000"/>
              <a:gd name="connsiteY20" fmla="*/ 875 h 9875"/>
              <a:gd name="connsiteX21" fmla="*/ 6754 w 10000"/>
              <a:gd name="connsiteY21" fmla="*/ 562 h 9875"/>
              <a:gd name="connsiteX22" fmla="*/ 6404 w 10000"/>
              <a:gd name="connsiteY22" fmla="*/ 313 h 9875"/>
              <a:gd name="connsiteX23" fmla="*/ 5965 w 10000"/>
              <a:gd name="connsiteY23" fmla="*/ 187 h 9875"/>
              <a:gd name="connsiteX24" fmla="*/ 5526 w 10000"/>
              <a:gd name="connsiteY24" fmla="*/ 0 h 9875"/>
              <a:gd name="connsiteX25" fmla="*/ 5000 w 10000"/>
              <a:gd name="connsiteY25" fmla="*/ 0 h 9875"/>
              <a:gd name="connsiteX26" fmla="*/ 5000 w 10000"/>
              <a:gd name="connsiteY26" fmla="*/ 0 h 9875"/>
              <a:gd name="connsiteX27" fmla="*/ 4561 w 10000"/>
              <a:gd name="connsiteY27" fmla="*/ 0 h 9875"/>
              <a:gd name="connsiteX28" fmla="*/ 4123 w 10000"/>
              <a:gd name="connsiteY28" fmla="*/ 187 h 9875"/>
              <a:gd name="connsiteX29" fmla="*/ 3684 w 10000"/>
              <a:gd name="connsiteY29" fmla="*/ 313 h 9875"/>
              <a:gd name="connsiteX30" fmla="*/ 3246 w 10000"/>
              <a:gd name="connsiteY30" fmla="*/ 562 h 9875"/>
              <a:gd name="connsiteX31" fmla="*/ 2982 w 10000"/>
              <a:gd name="connsiteY31" fmla="*/ 875 h 9875"/>
              <a:gd name="connsiteX32" fmla="*/ 2719 w 10000"/>
              <a:gd name="connsiteY32" fmla="*/ 1250 h 9875"/>
              <a:gd name="connsiteX33" fmla="*/ 2544 w 10000"/>
              <a:gd name="connsiteY33" fmla="*/ 1687 h 9875"/>
              <a:gd name="connsiteX34" fmla="*/ 2544 w 10000"/>
              <a:gd name="connsiteY34" fmla="*/ 2125 h 9875"/>
              <a:gd name="connsiteX35" fmla="*/ 2544 w 10000"/>
              <a:gd name="connsiteY35" fmla="*/ 2125 h 9875"/>
              <a:gd name="connsiteX36" fmla="*/ 2632 w 10000"/>
              <a:gd name="connsiteY36" fmla="*/ 2688 h 9875"/>
              <a:gd name="connsiteX37" fmla="*/ 2982 w 10000"/>
              <a:gd name="connsiteY37" fmla="*/ 3250 h 9875"/>
              <a:gd name="connsiteX38" fmla="*/ 3421 w 10000"/>
              <a:gd name="connsiteY38" fmla="*/ 3750 h 9875"/>
              <a:gd name="connsiteX39" fmla="*/ 3860 w 10000"/>
              <a:gd name="connsiteY39" fmla="*/ 4125 h 9875"/>
              <a:gd name="connsiteX40" fmla="*/ 3860 w 10000"/>
              <a:gd name="connsiteY40" fmla="*/ 4125 h 9875"/>
              <a:gd name="connsiteX41" fmla="*/ 2895 w 10000"/>
              <a:gd name="connsiteY41" fmla="*/ 4438 h 9875"/>
              <a:gd name="connsiteX42" fmla="*/ 2105 w 10000"/>
              <a:gd name="connsiteY42" fmla="*/ 4813 h 9875"/>
              <a:gd name="connsiteX43" fmla="*/ 1404 w 10000"/>
              <a:gd name="connsiteY43" fmla="*/ 5375 h 9875"/>
              <a:gd name="connsiteX44" fmla="*/ 877 w 10000"/>
              <a:gd name="connsiteY44" fmla="*/ 6125 h 9875"/>
              <a:gd name="connsiteX45" fmla="*/ 439 w 10000"/>
              <a:gd name="connsiteY45" fmla="*/ 6875 h 9875"/>
              <a:gd name="connsiteX46" fmla="*/ 175 w 10000"/>
              <a:gd name="connsiteY46" fmla="*/ 7750 h 9875"/>
              <a:gd name="connsiteX47" fmla="*/ 0 w 10000"/>
              <a:gd name="connsiteY47" fmla="*/ 8688 h 9875"/>
              <a:gd name="connsiteX48" fmla="*/ 0 w 10000"/>
              <a:gd name="connsiteY48" fmla="*/ 9749 h 9875"/>
              <a:gd name="connsiteX0" fmla="*/ 9912 w 10000"/>
              <a:gd name="connsiteY0" fmla="*/ 9937 h 9937"/>
              <a:gd name="connsiteX1" fmla="*/ 10000 w 10000"/>
              <a:gd name="connsiteY1" fmla="*/ 9872 h 9937"/>
              <a:gd name="connsiteX2" fmla="*/ 10000 w 10000"/>
              <a:gd name="connsiteY2" fmla="*/ 9872 h 9937"/>
              <a:gd name="connsiteX3" fmla="*/ 10000 w 10000"/>
              <a:gd name="connsiteY3" fmla="*/ 8798 h 9937"/>
              <a:gd name="connsiteX4" fmla="*/ 9912 w 10000"/>
              <a:gd name="connsiteY4" fmla="*/ 7848 h 9937"/>
              <a:gd name="connsiteX5" fmla="*/ 9561 w 10000"/>
              <a:gd name="connsiteY5" fmla="*/ 6962 h 9937"/>
              <a:gd name="connsiteX6" fmla="*/ 9211 w 10000"/>
              <a:gd name="connsiteY6" fmla="*/ 6203 h 9937"/>
              <a:gd name="connsiteX7" fmla="*/ 8684 w 10000"/>
              <a:gd name="connsiteY7" fmla="*/ 5443 h 9937"/>
              <a:gd name="connsiteX8" fmla="*/ 7982 w 10000"/>
              <a:gd name="connsiteY8" fmla="*/ 4874 h 9937"/>
              <a:gd name="connsiteX9" fmla="*/ 7105 w 10000"/>
              <a:gd name="connsiteY9" fmla="*/ 4494 h 9937"/>
              <a:gd name="connsiteX10" fmla="*/ 6140 w 10000"/>
              <a:gd name="connsiteY10" fmla="*/ 4177 h 9937"/>
              <a:gd name="connsiteX11" fmla="*/ 6140 w 10000"/>
              <a:gd name="connsiteY11" fmla="*/ 4177 h 9937"/>
              <a:gd name="connsiteX12" fmla="*/ 6667 w 10000"/>
              <a:gd name="connsiteY12" fmla="*/ 3797 h 9937"/>
              <a:gd name="connsiteX13" fmla="*/ 7018 w 10000"/>
              <a:gd name="connsiteY13" fmla="*/ 3291 h 9937"/>
              <a:gd name="connsiteX14" fmla="*/ 7281 w 10000"/>
              <a:gd name="connsiteY14" fmla="*/ 2722 h 9937"/>
              <a:gd name="connsiteX15" fmla="*/ 7544 w 10000"/>
              <a:gd name="connsiteY15" fmla="*/ 2152 h 9937"/>
              <a:gd name="connsiteX16" fmla="*/ 7544 w 10000"/>
              <a:gd name="connsiteY16" fmla="*/ 2152 h 9937"/>
              <a:gd name="connsiteX17" fmla="*/ 7456 w 10000"/>
              <a:gd name="connsiteY17" fmla="*/ 1708 h 9937"/>
              <a:gd name="connsiteX18" fmla="*/ 7281 w 10000"/>
              <a:gd name="connsiteY18" fmla="*/ 1266 h 9937"/>
              <a:gd name="connsiteX19" fmla="*/ 7105 w 10000"/>
              <a:gd name="connsiteY19" fmla="*/ 886 h 9937"/>
              <a:gd name="connsiteX20" fmla="*/ 6754 w 10000"/>
              <a:gd name="connsiteY20" fmla="*/ 569 h 9937"/>
              <a:gd name="connsiteX21" fmla="*/ 6404 w 10000"/>
              <a:gd name="connsiteY21" fmla="*/ 317 h 9937"/>
              <a:gd name="connsiteX22" fmla="*/ 5965 w 10000"/>
              <a:gd name="connsiteY22" fmla="*/ 189 h 9937"/>
              <a:gd name="connsiteX23" fmla="*/ 5526 w 10000"/>
              <a:gd name="connsiteY23" fmla="*/ 0 h 9937"/>
              <a:gd name="connsiteX24" fmla="*/ 5000 w 10000"/>
              <a:gd name="connsiteY24" fmla="*/ 0 h 9937"/>
              <a:gd name="connsiteX25" fmla="*/ 5000 w 10000"/>
              <a:gd name="connsiteY25" fmla="*/ 0 h 9937"/>
              <a:gd name="connsiteX26" fmla="*/ 4561 w 10000"/>
              <a:gd name="connsiteY26" fmla="*/ 0 h 9937"/>
              <a:gd name="connsiteX27" fmla="*/ 4123 w 10000"/>
              <a:gd name="connsiteY27" fmla="*/ 189 h 9937"/>
              <a:gd name="connsiteX28" fmla="*/ 3684 w 10000"/>
              <a:gd name="connsiteY28" fmla="*/ 317 h 9937"/>
              <a:gd name="connsiteX29" fmla="*/ 3246 w 10000"/>
              <a:gd name="connsiteY29" fmla="*/ 569 h 9937"/>
              <a:gd name="connsiteX30" fmla="*/ 2982 w 10000"/>
              <a:gd name="connsiteY30" fmla="*/ 886 h 9937"/>
              <a:gd name="connsiteX31" fmla="*/ 2719 w 10000"/>
              <a:gd name="connsiteY31" fmla="*/ 1266 h 9937"/>
              <a:gd name="connsiteX32" fmla="*/ 2544 w 10000"/>
              <a:gd name="connsiteY32" fmla="*/ 1708 h 9937"/>
              <a:gd name="connsiteX33" fmla="*/ 2544 w 10000"/>
              <a:gd name="connsiteY33" fmla="*/ 2152 h 9937"/>
              <a:gd name="connsiteX34" fmla="*/ 2544 w 10000"/>
              <a:gd name="connsiteY34" fmla="*/ 2152 h 9937"/>
              <a:gd name="connsiteX35" fmla="*/ 2632 w 10000"/>
              <a:gd name="connsiteY35" fmla="*/ 2722 h 9937"/>
              <a:gd name="connsiteX36" fmla="*/ 2982 w 10000"/>
              <a:gd name="connsiteY36" fmla="*/ 3291 h 9937"/>
              <a:gd name="connsiteX37" fmla="*/ 3421 w 10000"/>
              <a:gd name="connsiteY37" fmla="*/ 3797 h 9937"/>
              <a:gd name="connsiteX38" fmla="*/ 3860 w 10000"/>
              <a:gd name="connsiteY38" fmla="*/ 4177 h 9937"/>
              <a:gd name="connsiteX39" fmla="*/ 3860 w 10000"/>
              <a:gd name="connsiteY39" fmla="*/ 4177 h 9937"/>
              <a:gd name="connsiteX40" fmla="*/ 2895 w 10000"/>
              <a:gd name="connsiteY40" fmla="*/ 4494 h 9937"/>
              <a:gd name="connsiteX41" fmla="*/ 2105 w 10000"/>
              <a:gd name="connsiteY41" fmla="*/ 4874 h 9937"/>
              <a:gd name="connsiteX42" fmla="*/ 1404 w 10000"/>
              <a:gd name="connsiteY42" fmla="*/ 5443 h 9937"/>
              <a:gd name="connsiteX43" fmla="*/ 877 w 10000"/>
              <a:gd name="connsiteY43" fmla="*/ 6203 h 9937"/>
              <a:gd name="connsiteX44" fmla="*/ 439 w 10000"/>
              <a:gd name="connsiteY44" fmla="*/ 6962 h 9937"/>
              <a:gd name="connsiteX45" fmla="*/ 175 w 10000"/>
              <a:gd name="connsiteY45" fmla="*/ 7848 h 9937"/>
              <a:gd name="connsiteX46" fmla="*/ 0 w 10000"/>
              <a:gd name="connsiteY46" fmla="*/ 8798 h 9937"/>
              <a:gd name="connsiteX47" fmla="*/ 0 w 10000"/>
              <a:gd name="connsiteY47" fmla="*/ 9872 h 9937"/>
              <a:gd name="connsiteX0" fmla="*/ 10000 w 10000"/>
              <a:gd name="connsiteY0" fmla="*/ 9935 h 9935"/>
              <a:gd name="connsiteX1" fmla="*/ 10000 w 10000"/>
              <a:gd name="connsiteY1" fmla="*/ 9935 h 9935"/>
              <a:gd name="connsiteX2" fmla="*/ 10000 w 10000"/>
              <a:gd name="connsiteY2" fmla="*/ 8854 h 9935"/>
              <a:gd name="connsiteX3" fmla="*/ 9912 w 10000"/>
              <a:gd name="connsiteY3" fmla="*/ 7898 h 9935"/>
              <a:gd name="connsiteX4" fmla="*/ 9561 w 10000"/>
              <a:gd name="connsiteY4" fmla="*/ 7006 h 9935"/>
              <a:gd name="connsiteX5" fmla="*/ 9211 w 10000"/>
              <a:gd name="connsiteY5" fmla="*/ 6242 h 9935"/>
              <a:gd name="connsiteX6" fmla="*/ 8684 w 10000"/>
              <a:gd name="connsiteY6" fmla="*/ 5478 h 9935"/>
              <a:gd name="connsiteX7" fmla="*/ 7982 w 10000"/>
              <a:gd name="connsiteY7" fmla="*/ 4905 h 9935"/>
              <a:gd name="connsiteX8" fmla="*/ 7105 w 10000"/>
              <a:gd name="connsiteY8" fmla="*/ 4522 h 9935"/>
              <a:gd name="connsiteX9" fmla="*/ 6140 w 10000"/>
              <a:gd name="connsiteY9" fmla="*/ 4203 h 9935"/>
              <a:gd name="connsiteX10" fmla="*/ 6140 w 10000"/>
              <a:gd name="connsiteY10" fmla="*/ 4203 h 9935"/>
              <a:gd name="connsiteX11" fmla="*/ 6667 w 10000"/>
              <a:gd name="connsiteY11" fmla="*/ 3821 h 9935"/>
              <a:gd name="connsiteX12" fmla="*/ 7018 w 10000"/>
              <a:gd name="connsiteY12" fmla="*/ 3312 h 9935"/>
              <a:gd name="connsiteX13" fmla="*/ 7281 w 10000"/>
              <a:gd name="connsiteY13" fmla="*/ 2739 h 9935"/>
              <a:gd name="connsiteX14" fmla="*/ 7544 w 10000"/>
              <a:gd name="connsiteY14" fmla="*/ 2166 h 9935"/>
              <a:gd name="connsiteX15" fmla="*/ 7544 w 10000"/>
              <a:gd name="connsiteY15" fmla="*/ 2166 h 9935"/>
              <a:gd name="connsiteX16" fmla="*/ 7456 w 10000"/>
              <a:gd name="connsiteY16" fmla="*/ 1719 h 9935"/>
              <a:gd name="connsiteX17" fmla="*/ 7281 w 10000"/>
              <a:gd name="connsiteY17" fmla="*/ 1274 h 9935"/>
              <a:gd name="connsiteX18" fmla="*/ 7105 w 10000"/>
              <a:gd name="connsiteY18" fmla="*/ 892 h 9935"/>
              <a:gd name="connsiteX19" fmla="*/ 6754 w 10000"/>
              <a:gd name="connsiteY19" fmla="*/ 573 h 9935"/>
              <a:gd name="connsiteX20" fmla="*/ 6404 w 10000"/>
              <a:gd name="connsiteY20" fmla="*/ 319 h 9935"/>
              <a:gd name="connsiteX21" fmla="*/ 5965 w 10000"/>
              <a:gd name="connsiteY21" fmla="*/ 190 h 9935"/>
              <a:gd name="connsiteX22" fmla="*/ 5526 w 10000"/>
              <a:gd name="connsiteY22" fmla="*/ 0 h 9935"/>
              <a:gd name="connsiteX23" fmla="*/ 5000 w 10000"/>
              <a:gd name="connsiteY23" fmla="*/ 0 h 9935"/>
              <a:gd name="connsiteX24" fmla="*/ 5000 w 10000"/>
              <a:gd name="connsiteY24" fmla="*/ 0 h 9935"/>
              <a:gd name="connsiteX25" fmla="*/ 4561 w 10000"/>
              <a:gd name="connsiteY25" fmla="*/ 0 h 9935"/>
              <a:gd name="connsiteX26" fmla="*/ 4123 w 10000"/>
              <a:gd name="connsiteY26" fmla="*/ 190 h 9935"/>
              <a:gd name="connsiteX27" fmla="*/ 3684 w 10000"/>
              <a:gd name="connsiteY27" fmla="*/ 319 h 9935"/>
              <a:gd name="connsiteX28" fmla="*/ 3246 w 10000"/>
              <a:gd name="connsiteY28" fmla="*/ 573 h 9935"/>
              <a:gd name="connsiteX29" fmla="*/ 2982 w 10000"/>
              <a:gd name="connsiteY29" fmla="*/ 892 h 9935"/>
              <a:gd name="connsiteX30" fmla="*/ 2719 w 10000"/>
              <a:gd name="connsiteY30" fmla="*/ 1274 h 9935"/>
              <a:gd name="connsiteX31" fmla="*/ 2544 w 10000"/>
              <a:gd name="connsiteY31" fmla="*/ 1719 h 9935"/>
              <a:gd name="connsiteX32" fmla="*/ 2544 w 10000"/>
              <a:gd name="connsiteY32" fmla="*/ 2166 h 9935"/>
              <a:gd name="connsiteX33" fmla="*/ 2544 w 10000"/>
              <a:gd name="connsiteY33" fmla="*/ 2166 h 9935"/>
              <a:gd name="connsiteX34" fmla="*/ 2632 w 10000"/>
              <a:gd name="connsiteY34" fmla="*/ 2739 h 9935"/>
              <a:gd name="connsiteX35" fmla="*/ 2982 w 10000"/>
              <a:gd name="connsiteY35" fmla="*/ 3312 h 9935"/>
              <a:gd name="connsiteX36" fmla="*/ 3421 w 10000"/>
              <a:gd name="connsiteY36" fmla="*/ 3821 h 9935"/>
              <a:gd name="connsiteX37" fmla="*/ 3860 w 10000"/>
              <a:gd name="connsiteY37" fmla="*/ 4203 h 9935"/>
              <a:gd name="connsiteX38" fmla="*/ 3860 w 10000"/>
              <a:gd name="connsiteY38" fmla="*/ 4203 h 9935"/>
              <a:gd name="connsiteX39" fmla="*/ 2895 w 10000"/>
              <a:gd name="connsiteY39" fmla="*/ 4522 h 9935"/>
              <a:gd name="connsiteX40" fmla="*/ 2105 w 10000"/>
              <a:gd name="connsiteY40" fmla="*/ 4905 h 9935"/>
              <a:gd name="connsiteX41" fmla="*/ 1404 w 10000"/>
              <a:gd name="connsiteY41" fmla="*/ 5478 h 9935"/>
              <a:gd name="connsiteX42" fmla="*/ 877 w 10000"/>
              <a:gd name="connsiteY42" fmla="*/ 6242 h 9935"/>
              <a:gd name="connsiteX43" fmla="*/ 439 w 10000"/>
              <a:gd name="connsiteY43" fmla="*/ 7006 h 9935"/>
              <a:gd name="connsiteX44" fmla="*/ 175 w 10000"/>
              <a:gd name="connsiteY44" fmla="*/ 7898 h 9935"/>
              <a:gd name="connsiteX45" fmla="*/ 0 w 10000"/>
              <a:gd name="connsiteY45" fmla="*/ 8854 h 9935"/>
              <a:gd name="connsiteX46" fmla="*/ 0 w 10000"/>
              <a:gd name="connsiteY46" fmla="*/ 9935 h 9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0000" h="9935">
                <a:moveTo>
                  <a:pt x="10000" y="9935"/>
                </a:moveTo>
                <a:lnTo>
                  <a:pt x="10000" y="9935"/>
                </a:lnTo>
                <a:lnTo>
                  <a:pt x="10000" y="8854"/>
                </a:lnTo>
                <a:cubicBezTo>
                  <a:pt x="9971" y="8535"/>
                  <a:pt x="9941" y="8217"/>
                  <a:pt x="9912" y="7898"/>
                </a:cubicBezTo>
                <a:lnTo>
                  <a:pt x="9561" y="7006"/>
                </a:lnTo>
                <a:lnTo>
                  <a:pt x="9211" y="6242"/>
                </a:lnTo>
                <a:lnTo>
                  <a:pt x="8684" y="5478"/>
                </a:lnTo>
                <a:lnTo>
                  <a:pt x="7982" y="4905"/>
                </a:lnTo>
                <a:lnTo>
                  <a:pt x="7105" y="4522"/>
                </a:lnTo>
                <a:lnTo>
                  <a:pt x="6140" y="4203"/>
                </a:lnTo>
                <a:lnTo>
                  <a:pt x="6140" y="4203"/>
                </a:lnTo>
                <a:lnTo>
                  <a:pt x="6667" y="3821"/>
                </a:lnTo>
                <a:lnTo>
                  <a:pt x="7018" y="3312"/>
                </a:lnTo>
                <a:cubicBezTo>
                  <a:pt x="7106" y="3122"/>
                  <a:pt x="7193" y="2929"/>
                  <a:pt x="7281" y="2739"/>
                </a:cubicBezTo>
                <a:cubicBezTo>
                  <a:pt x="7369" y="2549"/>
                  <a:pt x="7456" y="2356"/>
                  <a:pt x="7544" y="2166"/>
                </a:cubicBezTo>
                <a:lnTo>
                  <a:pt x="7544" y="2166"/>
                </a:lnTo>
                <a:cubicBezTo>
                  <a:pt x="7515" y="2017"/>
                  <a:pt x="7485" y="1868"/>
                  <a:pt x="7456" y="1719"/>
                </a:cubicBezTo>
                <a:lnTo>
                  <a:pt x="7281" y="1274"/>
                </a:lnTo>
                <a:cubicBezTo>
                  <a:pt x="7222" y="1147"/>
                  <a:pt x="7164" y="1019"/>
                  <a:pt x="7105" y="892"/>
                </a:cubicBezTo>
                <a:lnTo>
                  <a:pt x="6754" y="573"/>
                </a:lnTo>
                <a:lnTo>
                  <a:pt x="6404" y="319"/>
                </a:lnTo>
                <a:lnTo>
                  <a:pt x="5965" y="190"/>
                </a:lnTo>
                <a:lnTo>
                  <a:pt x="5526" y="0"/>
                </a:lnTo>
                <a:lnTo>
                  <a:pt x="5000" y="0"/>
                </a:lnTo>
                <a:lnTo>
                  <a:pt x="5000" y="0"/>
                </a:lnTo>
                <a:lnTo>
                  <a:pt x="4561" y="0"/>
                </a:lnTo>
                <a:lnTo>
                  <a:pt x="4123" y="190"/>
                </a:lnTo>
                <a:lnTo>
                  <a:pt x="3684" y="319"/>
                </a:lnTo>
                <a:lnTo>
                  <a:pt x="3246" y="573"/>
                </a:lnTo>
                <a:lnTo>
                  <a:pt x="2982" y="892"/>
                </a:lnTo>
                <a:lnTo>
                  <a:pt x="2719" y="1274"/>
                </a:lnTo>
                <a:cubicBezTo>
                  <a:pt x="2661" y="1423"/>
                  <a:pt x="2602" y="1572"/>
                  <a:pt x="2544" y="1719"/>
                </a:cubicBezTo>
                <a:lnTo>
                  <a:pt x="2544" y="2166"/>
                </a:lnTo>
                <a:lnTo>
                  <a:pt x="2544" y="2166"/>
                </a:lnTo>
                <a:cubicBezTo>
                  <a:pt x="2573" y="2356"/>
                  <a:pt x="2603" y="2549"/>
                  <a:pt x="2632" y="2739"/>
                </a:cubicBezTo>
                <a:lnTo>
                  <a:pt x="2982" y="3312"/>
                </a:lnTo>
                <a:lnTo>
                  <a:pt x="3421" y="3821"/>
                </a:lnTo>
                <a:lnTo>
                  <a:pt x="3860" y="4203"/>
                </a:lnTo>
                <a:lnTo>
                  <a:pt x="3860" y="4203"/>
                </a:lnTo>
                <a:lnTo>
                  <a:pt x="2895" y="4522"/>
                </a:lnTo>
                <a:lnTo>
                  <a:pt x="2105" y="4905"/>
                </a:lnTo>
                <a:lnTo>
                  <a:pt x="1404" y="5478"/>
                </a:lnTo>
                <a:lnTo>
                  <a:pt x="877" y="6242"/>
                </a:lnTo>
                <a:lnTo>
                  <a:pt x="439" y="7006"/>
                </a:lnTo>
                <a:lnTo>
                  <a:pt x="175" y="7898"/>
                </a:lnTo>
                <a:cubicBezTo>
                  <a:pt x="117" y="8217"/>
                  <a:pt x="58" y="8535"/>
                  <a:pt x="0" y="8854"/>
                </a:cubicBezTo>
                <a:lnTo>
                  <a:pt x="0" y="9935"/>
                </a:lnTo>
              </a:path>
            </a:pathLst>
          </a:custGeom>
          <a:noFill/>
          <a:ln w="2857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18" name="Straight Connector 17"/>
          <p:cNvCxnSpPr>
            <a:endCxn id="17" idx="46"/>
          </p:cNvCxnSpPr>
          <p:nvPr userDrawn="1"/>
        </p:nvCxnSpPr>
        <p:spPr>
          <a:xfrm>
            <a:off x="1" y="6266843"/>
            <a:ext cx="6711973" cy="851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7" idx="0"/>
          </p:cNvCxnSpPr>
          <p:nvPr userDrawn="1"/>
        </p:nvCxnSpPr>
        <p:spPr>
          <a:xfrm flipV="1">
            <a:off x="8763000" y="6266843"/>
            <a:ext cx="1143000" cy="8517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9139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1" y="6266843"/>
            <a:ext cx="8829353" cy="0"/>
          </a:xfrm>
          <a:prstGeom prst="line">
            <a:avLst/>
          </a:prstGeom>
          <a:ln w="28575">
            <a:solidFill>
              <a:srgbClr val="EC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9140786" y="6266843"/>
            <a:ext cx="765214" cy="0"/>
          </a:xfrm>
          <a:prstGeom prst="line">
            <a:avLst/>
          </a:prstGeom>
          <a:ln w="28575">
            <a:solidFill>
              <a:srgbClr val="EC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 userDrawn="1"/>
        </p:nvGrpSpPr>
        <p:grpSpPr>
          <a:xfrm>
            <a:off x="6019800" y="4091608"/>
            <a:ext cx="2963535" cy="3542549"/>
            <a:chOff x="6023014" y="4385218"/>
            <a:chExt cx="2963535" cy="3542549"/>
          </a:xfrm>
        </p:grpSpPr>
        <p:cxnSp>
          <p:nvCxnSpPr>
            <p:cNvPr id="16" name="Straight Connector 15"/>
            <p:cNvCxnSpPr>
              <a:stCxn id="29" idx="0"/>
            </p:cNvCxnSpPr>
            <p:nvPr/>
          </p:nvCxnSpPr>
          <p:spPr>
            <a:xfrm flipH="1" flipV="1">
              <a:off x="6611280" y="4704170"/>
              <a:ext cx="10259" cy="1518915"/>
            </a:xfrm>
            <a:prstGeom prst="line">
              <a:avLst/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6611280" y="4560810"/>
              <a:ext cx="313696" cy="143360"/>
            </a:xfrm>
            <a:prstGeom prst="line">
              <a:avLst/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Arc 17"/>
            <p:cNvSpPr/>
            <p:nvPr/>
          </p:nvSpPr>
          <p:spPr>
            <a:xfrm rot="21038951">
              <a:off x="6023014" y="5680885"/>
              <a:ext cx="2095500" cy="1971020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Arc 18"/>
            <p:cNvSpPr/>
            <p:nvPr/>
          </p:nvSpPr>
          <p:spPr>
            <a:xfrm rot="21038951">
              <a:off x="6051689" y="4385218"/>
              <a:ext cx="2095500" cy="1971020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0" name="Straight Connector 19"/>
            <p:cNvCxnSpPr>
              <a:stCxn id="19" idx="0"/>
              <a:endCxn id="18" idx="0"/>
            </p:cNvCxnSpPr>
            <p:nvPr/>
          </p:nvCxnSpPr>
          <p:spPr>
            <a:xfrm flipH="1">
              <a:off x="6910639" y="4398313"/>
              <a:ext cx="28675" cy="1295667"/>
            </a:xfrm>
            <a:prstGeom prst="line">
              <a:avLst/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Arc 20"/>
            <p:cNvSpPr/>
            <p:nvPr/>
          </p:nvSpPr>
          <p:spPr>
            <a:xfrm rot="21038951">
              <a:off x="6568918" y="4733174"/>
              <a:ext cx="1317449" cy="1239188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Arc 21"/>
            <p:cNvSpPr/>
            <p:nvPr/>
          </p:nvSpPr>
          <p:spPr>
            <a:xfrm rot="21038951">
              <a:off x="6552969" y="4993840"/>
              <a:ext cx="1317449" cy="1239188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Arc 22"/>
            <p:cNvSpPr/>
            <p:nvPr/>
          </p:nvSpPr>
          <p:spPr>
            <a:xfrm rot="21038951">
              <a:off x="6540338" y="5300778"/>
              <a:ext cx="1317449" cy="1239188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4" name="Straight Connector 23"/>
            <p:cNvCxnSpPr>
              <a:stCxn id="19" idx="2"/>
              <a:endCxn id="18" idx="2"/>
            </p:cNvCxnSpPr>
            <p:nvPr/>
          </p:nvCxnSpPr>
          <p:spPr>
            <a:xfrm flipH="1">
              <a:off x="7821861" y="4669760"/>
              <a:ext cx="28675" cy="1295667"/>
            </a:xfrm>
            <a:prstGeom prst="line">
              <a:avLst/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Arc 24"/>
            <p:cNvSpPr/>
            <p:nvPr/>
          </p:nvSpPr>
          <p:spPr>
            <a:xfrm rot="19368084">
              <a:off x="7585978" y="4559779"/>
              <a:ext cx="1317449" cy="1239188"/>
            </a:xfrm>
            <a:prstGeom prst="arc">
              <a:avLst>
                <a:gd name="adj1" fmla="val 16200000"/>
                <a:gd name="adj2" fmla="val 21294594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6" name="Straight Connector 25"/>
            <p:cNvCxnSpPr>
              <a:stCxn id="25" idx="2"/>
            </p:cNvCxnSpPr>
            <p:nvPr/>
          </p:nvCxnSpPr>
          <p:spPr>
            <a:xfrm flipH="1">
              <a:off x="8731752" y="4736366"/>
              <a:ext cx="1" cy="662644"/>
            </a:xfrm>
            <a:prstGeom prst="line">
              <a:avLst/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8129964" y="5496585"/>
              <a:ext cx="661723" cy="661723"/>
            </a:xfrm>
            <a:prstGeom prst="ellipse">
              <a:avLst/>
            </a:prstGeom>
            <a:noFill/>
            <a:ln w="28575">
              <a:solidFill>
                <a:srgbClr val="EC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Oval 27"/>
            <p:cNvSpPr/>
            <p:nvPr/>
          </p:nvSpPr>
          <p:spPr>
            <a:xfrm>
              <a:off x="7935102" y="5301723"/>
              <a:ext cx="1051447" cy="1051447"/>
            </a:xfrm>
            <a:prstGeom prst="ellipse">
              <a:avLst/>
            </a:prstGeom>
            <a:noFill/>
            <a:ln w="28575">
              <a:solidFill>
                <a:srgbClr val="EC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Arc 28"/>
            <p:cNvSpPr/>
            <p:nvPr/>
          </p:nvSpPr>
          <p:spPr>
            <a:xfrm rot="19197411">
              <a:off x="6247844" y="5956747"/>
              <a:ext cx="2095500" cy="1971020"/>
            </a:xfrm>
            <a:prstGeom prst="arc">
              <a:avLst>
                <a:gd name="adj1" fmla="val 16013874"/>
                <a:gd name="adj2" fmla="val 20399348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Arc 29"/>
            <p:cNvSpPr/>
            <p:nvPr/>
          </p:nvSpPr>
          <p:spPr>
            <a:xfrm rot="19719029">
              <a:off x="7620795" y="4813062"/>
              <a:ext cx="1317449" cy="1239188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Arc 30"/>
            <p:cNvSpPr/>
            <p:nvPr/>
          </p:nvSpPr>
          <p:spPr>
            <a:xfrm rot="19719029">
              <a:off x="7634668" y="5088196"/>
              <a:ext cx="1317449" cy="1239188"/>
            </a:xfrm>
            <a:prstGeom prst="arc">
              <a:avLst>
                <a:gd name="adj1" fmla="val 16200000"/>
                <a:gd name="adj2" fmla="val 19579680"/>
              </a:avLst>
            </a:prstGeom>
            <a:ln w="28575">
              <a:solidFill>
                <a:srgbClr val="EC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32" name="Straight Connector 31"/>
          <p:cNvCxnSpPr>
            <a:stCxn id="28" idx="5"/>
          </p:cNvCxnSpPr>
          <p:nvPr userDrawn="1"/>
        </p:nvCxnSpPr>
        <p:spPr>
          <a:xfrm>
            <a:off x="8829354" y="5905579"/>
            <a:ext cx="311432" cy="361264"/>
          </a:xfrm>
          <a:prstGeom prst="line">
            <a:avLst/>
          </a:prstGeom>
          <a:ln w="28575">
            <a:solidFill>
              <a:srgbClr val="EC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8640564" y="6011521"/>
            <a:ext cx="188790" cy="255322"/>
          </a:xfrm>
          <a:prstGeom prst="line">
            <a:avLst/>
          </a:prstGeom>
          <a:ln w="28575">
            <a:solidFill>
              <a:srgbClr val="EC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9954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1" y="6266843"/>
            <a:ext cx="8534399" cy="0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9265920" y="6266843"/>
            <a:ext cx="640080" cy="0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e 98"/>
          <p:cNvGrpSpPr>
            <a:grpSpLocks noChangeAspect="1"/>
          </p:cNvGrpSpPr>
          <p:nvPr userDrawn="1"/>
        </p:nvGrpSpPr>
        <p:grpSpPr>
          <a:xfrm>
            <a:off x="6317982" y="4062767"/>
            <a:ext cx="2947938" cy="2204076"/>
            <a:chOff x="3876651" y="4189214"/>
            <a:chExt cx="349250" cy="266700"/>
          </a:xfrm>
        </p:grpSpPr>
        <p:sp>
          <p:nvSpPr>
            <p:cNvPr id="16" name="Freeform 740"/>
            <p:cNvSpPr>
              <a:spLocks/>
            </p:cNvSpPr>
            <p:nvPr/>
          </p:nvSpPr>
          <p:spPr bwMode="auto">
            <a:xfrm>
              <a:off x="3876651" y="4189214"/>
              <a:ext cx="161925" cy="125413"/>
            </a:xfrm>
            <a:custGeom>
              <a:avLst/>
              <a:gdLst/>
              <a:ahLst/>
              <a:cxnLst>
                <a:cxn ang="0">
                  <a:pos x="102" y="49"/>
                </a:cxn>
                <a:cxn ang="0">
                  <a:pos x="52" y="0"/>
                </a:cxn>
                <a:cxn ang="0">
                  <a:pos x="0" y="0"/>
                </a:cxn>
                <a:cxn ang="0">
                  <a:pos x="78" y="77"/>
                </a:cxn>
                <a:cxn ang="0">
                  <a:pos x="89" y="79"/>
                </a:cxn>
              </a:cxnLst>
              <a:rect l="0" t="0" r="r" b="b"/>
              <a:pathLst>
                <a:path w="102" h="79">
                  <a:moveTo>
                    <a:pt x="102" y="49"/>
                  </a:moveTo>
                  <a:lnTo>
                    <a:pt x="52" y="0"/>
                  </a:lnTo>
                  <a:lnTo>
                    <a:pt x="0" y="0"/>
                  </a:lnTo>
                  <a:lnTo>
                    <a:pt x="78" y="77"/>
                  </a:lnTo>
                  <a:lnTo>
                    <a:pt x="89" y="79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41"/>
            <p:cNvSpPr>
              <a:spLocks/>
            </p:cNvSpPr>
            <p:nvPr/>
          </p:nvSpPr>
          <p:spPr bwMode="auto">
            <a:xfrm>
              <a:off x="4083018" y="4328914"/>
              <a:ext cx="142883" cy="127000"/>
            </a:xfrm>
            <a:custGeom>
              <a:avLst/>
              <a:gdLst>
                <a:gd name="connsiteX0" fmla="*/ 1176 w 10000"/>
                <a:gd name="connsiteY0" fmla="*/ 0 h 10000"/>
                <a:gd name="connsiteX1" fmla="*/ 2353 w 10000"/>
                <a:gd name="connsiteY1" fmla="*/ 375 h 10000"/>
                <a:gd name="connsiteX2" fmla="*/ 10000 w 10000"/>
                <a:gd name="connsiteY2" fmla="*/ 10000 h 10000"/>
                <a:gd name="connsiteX3" fmla="*/ 4902 w 10000"/>
                <a:gd name="connsiteY3" fmla="*/ 10000 h 10000"/>
                <a:gd name="connsiteX4" fmla="*/ 0 w 10000"/>
                <a:gd name="connsiteY4" fmla="*/ 3625 h 10000"/>
                <a:gd name="connsiteX0" fmla="*/ 1176 w 10000"/>
                <a:gd name="connsiteY0" fmla="*/ 0 h 10000"/>
                <a:gd name="connsiteX1" fmla="*/ 2353 w 10000"/>
                <a:gd name="connsiteY1" fmla="*/ 375 h 10000"/>
                <a:gd name="connsiteX2" fmla="*/ 10000 w 10000"/>
                <a:gd name="connsiteY2" fmla="*/ 10000 h 10000"/>
                <a:gd name="connsiteX3" fmla="*/ 0 w 10000"/>
                <a:gd name="connsiteY3" fmla="*/ 3625 h 10000"/>
                <a:gd name="connsiteX0" fmla="*/ 0 w 8824"/>
                <a:gd name="connsiteY0" fmla="*/ 0 h 10000"/>
                <a:gd name="connsiteX1" fmla="*/ 1177 w 8824"/>
                <a:gd name="connsiteY1" fmla="*/ 375 h 10000"/>
                <a:gd name="connsiteX2" fmla="*/ 8824 w 8824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24" h="10000">
                  <a:moveTo>
                    <a:pt x="0" y="0"/>
                  </a:moveTo>
                  <a:lnTo>
                    <a:pt x="1177" y="375"/>
                  </a:lnTo>
                  <a:lnTo>
                    <a:pt x="8824" y="10000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742"/>
            <p:cNvSpPr>
              <a:spLocks/>
            </p:cNvSpPr>
            <p:nvPr/>
          </p:nvSpPr>
          <p:spPr bwMode="auto">
            <a:xfrm>
              <a:off x="4017939" y="4289227"/>
              <a:ext cx="66675" cy="39688"/>
            </a:xfrm>
            <a:custGeom>
              <a:avLst/>
              <a:gdLst/>
              <a:ahLst/>
              <a:cxnLst>
                <a:cxn ang="0">
                  <a:pos x="41" y="25"/>
                </a:cxn>
                <a:cxn ang="0">
                  <a:pos x="41" y="25"/>
                </a:cxn>
                <a:cxn ang="0">
                  <a:pos x="42" y="20"/>
                </a:cxn>
                <a:cxn ang="0">
                  <a:pos x="41" y="15"/>
                </a:cxn>
                <a:cxn ang="0">
                  <a:pos x="38" y="10"/>
                </a:cxn>
                <a:cxn ang="0">
                  <a:pos x="36" y="6"/>
                </a:cxn>
                <a:cxn ang="0">
                  <a:pos x="36" y="6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4" y="0"/>
                </a:cxn>
                <a:cxn ang="0">
                  <a:pos x="20" y="0"/>
                </a:cxn>
                <a:cxn ang="0">
                  <a:pos x="17" y="0"/>
                </a:cxn>
                <a:cxn ang="0">
                  <a:pos x="13" y="1"/>
                </a:cxn>
                <a:cxn ang="0">
                  <a:pos x="9" y="4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3" y="11"/>
                </a:cxn>
                <a:cxn ang="0">
                  <a:pos x="0" y="16"/>
                </a:cxn>
              </a:cxnLst>
              <a:rect l="0" t="0" r="r" b="b"/>
              <a:pathLst>
                <a:path w="42" h="25">
                  <a:moveTo>
                    <a:pt x="41" y="25"/>
                  </a:moveTo>
                  <a:lnTo>
                    <a:pt x="41" y="25"/>
                  </a:lnTo>
                  <a:lnTo>
                    <a:pt x="42" y="20"/>
                  </a:lnTo>
                  <a:lnTo>
                    <a:pt x="41" y="15"/>
                  </a:lnTo>
                  <a:lnTo>
                    <a:pt x="38" y="10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2" y="4"/>
                  </a:lnTo>
                  <a:lnTo>
                    <a:pt x="29" y="1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3" y="1"/>
                  </a:lnTo>
                  <a:lnTo>
                    <a:pt x="9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3" y="11"/>
                  </a:lnTo>
                  <a:lnTo>
                    <a:pt x="0" y="16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743"/>
            <p:cNvSpPr>
              <a:spLocks/>
            </p:cNvSpPr>
            <p:nvPr/>
          </p:nvSpPr>
          <p:spPr bwMode="auto">
            <a:xfrm>
              <a:off x="4017939" y="4314627"/>
              <a:ext cx="65088" cy="412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1" y="10"/>
                </a:cxn>
                <a:cxn ang="0">
                  <a:pos x="3" y="16"/>
                </a:cxn>
                <a:cxn ang="0">
                  <a:pos x="6" y="19"/>
                </a:cxn>
                <a:cxn ang="0">
                  <a:pos x="6" y="19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7" y="24"/>
                </a:cxn>
                <a:cxn ang="0">
                  <a:pos x="20" y="26"/>
                </a:cxn>
                <a:cxn ang="0">
                  <a:pos x="24" y="24"/>
                </a:cxn>
                <a:cxn ang="0">
                  <a:pos x="29" y="24"/>
                </a:cxn>
                <a:cxn ang="0">
                  <a:pos x="32" y="22"/>
                </a:cxn>
                <a:cxn ang="0">
                  <a:pos x="36" y="19"/>
                </a:cxn>
                <a:cxn ang="0">
                  <a:pos x="36" y="19"/>
                </a:cxn>
                <a:cxn ang="0">
                  <a:pos x="39" y="14"/>
                </a:cxn>
                <a:cxn ang="0">
                  <a:pos x="41" y="9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" y="10"/>
                  </a:lnTo>
                  <a:lnTo>
                    <a:pt x="3" y="16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9" y="22"/>
                  </a:lnTo>
                  <a:lnTo>
                    <a:pt x="13" y="24"/>
                  </a:lnTo>
                  <a:lnTo>
                    <a:pt x="17" y="24"/>
                  </a:lnTo>
                  <a:lnTo>
                    <a:pt x="20" y="26"/>
                  </a:lnTo>
                  <a:lnTo>
                    <a:pt x="24" y="24"/>
                  </a:lnTo>
                  <a:lnTo>
                    <a:pt x="29" y="24"/>
                  </a:lnTo>
                  <a:lnTo>
                    <a:pt x="32" y="22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9" y="14"/>
                  </a:lnTo>
                  <a:lnTo>
                    <a:pt x="41" y="9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744"/>
            <p:cNvSpPr>
              <a:spLocks/>
            </p:cNvSpPr>
            <p:nvPr/>
          </p:nvSpPr>
          <p:spPr bwMode="auto">
            <a:xfrm>
              <a:off x="3981426" y="4322564"/>
              <a:ext cx="66675" cy="66675"/>
            </a:xfrm>
            <a:custGeom>
              <a:avLst/>
              <a:gdLst/>
              <a:ahLst/>
              <a:cxnLst>
                <a:cxn ang="0">
                  <a:pos x="42" y="42"/>
                </a:cxn>
                <a:cxn ang="0">
                  <a:pos x="42" y="42"/>
                </a:cxn>
                <a:cxn ang="0">
                  <a:pos x="33" y="41"/>
                </a:cxn>
                <a:cxn ang="0">
                  <a:pos x="26" y="38"/>
                </a:cxn>
                <a:cxn ang="0">
                  <a:pos x="19" y="35"/>
                </a:cxn>
                <a:cxn ang="0">
                  <a:pos x="13" y="30"/>
                </a:cxn>
                <a:cxn ang="0">
                  <a:pos x="8" y="23"/>
                </a:cxn>
                <a:cxn ang="0">
                  <a:pos x="4" y="17"/>
                </a:cxn>
                <a:cxn ang="0">
                  <a:pos x="1" y="9"/>
                </a:cxn>
                <a:cxn ang="0">
                  <a:pos x="0" y="0"/>
                </a:cxn>
              </a:cxnLst>
              <a:rect l="0" t="0" r="r" b="b"/>
              <a:pathLst>
                <a:path w="42" h="42">
                  <a:moveTo>
                    <a:pt x="42" y="42"/>
                  </a:moveTo>
                  <a:lnTo>
                    <a:pt x="42" y="42"/>
                  </a:lnTo>
                  <a:lnTo>
                    <a:pt x="33" y="41"/>
                  </a:lnTo>
                  <a:lnTo>
                    <a:pt x="26" y="38"/>
                  </a:lnTo>
                  <a:lnTo>
                    <a:pt x="19" y="35"/>
                  </a:lnTo>
                  <a:lnTo>
                    <a:pt x="13" y="30"/>
                  </a:lnTo>
                  <a:lnTo>
                    <a:pt x="8" y="23"/>
                  </a:lnTo>
                  <a:lnTo>
                    <a:pt x="4" y="17"/>
                  </a:lnTo>
                  <a:lnTo>
                    <a:pt x="1" y="9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745"/>
            <p:cNvSpPr>
              <a:spLocks/>
            </p:cNvSpPr>
            <p:nvPr/>
          </p:nvSpPr>
          <p:spPr bwMode="auto">
            <a:xfrm>
              <a:off x="3948089" y="4320977"/>
              <a:ext cx="100013" cy="103188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50" y="63"/>
                </a:cxn>
                <a:cxn ang="0">
                  <a:pos x="39" y="60"/>
                </a:cxn>
                <a:cxn ang="0">
                  <a:pos x="28" y="53"/>
                </a:cxn>
                <a:cxn ang="0">
                  <a:pos x="19" y="46"/>
                </a:cxn>
                <a:cxn ang="0">
                  <a:pos x="11" y="36"/>
                </a:cxn>
                <a:cxn ang="0">
                  <a:pos x="5" y="25"/>
                </a:cxn>
                <a:cxn ang="0">
                  <a:pos x="1" y="13"/>
                </a:cxn>
                <a:cxn ang="0">
                  <a:pos x="0" y="0"/>
                </a:cxn>
              </a:cxnLst>
              <a:rect l="0" t="0" r="r" b="b"/>
              <a:pathLst>
                <a:path w="63" h="65">
                  <a:moveTo>
                    <a:pt x="63" y="65"/>
                  </a:moveTo>
                  <a:lnTo>
                    <a:pt x="63" y="65"/>
                  </a:lnTo>
                  <a:lnTo>
                    <a:pt x="50" y="63"/>
                  </a:lnTo>
                  <a:lnTo>
                    <a:pt x="39" y="60"/>
                  </a:lnTo>
                  <a:lnTo>
                    <a:pt x="28" y="53"/>
                  </a:lnTo>
                  <a:lnTo>
                    <a:pt x="19" y="46"/>
                  </a:lnTo>
                  <a:lnTo>
                    <a:pt x="11" y="36"/>
                  </a:lnTo>
                  <a:lnTo>
                    <a:pt x="5" y="25"/>
                  </a:lnTo>
                  <a:lnTo>
                    <a:pt x="1" y="13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22" name="Straight Connector 21"/>
          <p:cNvCxnSpPr/>
          <p:nvPr userDrawn="1"/>
        </p:nvCxnSpPr>
        <p:spPr>
          <a:xfrm>
            <a:off x="7938733" y="5660069"/>
            <a:ext cx="595667" cy="606774"/>
          </a:xfrm>
          <a:prstGeom prst="line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1562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accent3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2052" y="3786719"/>
            <a:ext cx="9908533" cy="2528376"/>
            <a:chOff x="-2052" y="3786719"/>
            <a:chExt cx="9908533" cy="2528376"/>
          </a:xfrm>
        </p:grpSpPr>
        <p:cxnSp>
          <p:nvCxnSpPr>
            <p:cNvPr id="27" name="Straight Connector 26"/>
            <p:cNvCxnSpPr/>
            <p:nvPr userDrawn="1"/>
          </p:nvCxnSpPr>
          <p:spPr>
            <a:xfrm flipH="1">
              <a:off x="-2052" y="6248400"/>
              <a:ext cx="6783852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 27"/>
            <p:cNvSpPr/>
            <p:nvPr userDrawn="1"/>
          </p:nvSpPr>
          <p:spPr>
            <a:xfrm>
              <a:off x="6785811" y="3786719"/>
              <a:ext cx="1650793" cy="2461681"/>
            </a:xfrm>
            <a:custGeom>
              <a:avLst/>
              <a:gdLst>
                <a:gd name="connsiteX0" fmla="*/ 0 w 1650793"/>
                <a:gd name="connsiteY0" fmla="*/ 2461681 h 2461681"/>
                <a:gd name="connsiteX1" fmla="*/ 128336 w 1650793"/>
                <a:gd name="connsiteY1" fmla="*/ 2433607 h 2461681"/>
                <a:gd name="connsiteX2" fmla="*/ 208547 w 1650793"/>
                <a:gd name="connsiteY2" fmla="*/ 2341365 h 2461681"/>
                <a:gd name="connsiteX3" fmla="*/ 240631 w 1650793"/>
                <a:gd name="connsiteY3" fmla="*/ 2257144 h 2461681"/>
                <a:gd name="connsiteX4" fmla="*/ 316831 w 1650793"/>
                <a:gd name="connsiteY4" fmla="*/ 2209018 h 2461681"/>
                <a:gd name="connsiteX5" fmla="*/ 401052 w 1650793"/>
                <a:gd name="connsiteY5" fmla="*/ 2209018 h 2461681"/>
                <a:gd name="connsiteX6" fmla="*/ 381000 w 1650793"/>
                <a:gd name="connsiteY6" fmla="*/ 2084692 h 2461681"/>
                <a:gd name="connsiteX7" fmla="*/ 429126 w 1650793"/>
                <a:gd name="connsiteY7" fmla="*/ 1864113 h 2461681"/>
                <a:gd name="connsiteX8" fmla="*/ 585536 w 1650793"/>
                <a:gd name="connsiteY8" fmla="*/ 1615460 h 2461681"/>
                <a:gd name="connsiteX9" fmla="*/ 950494 w 1650793"/>
                <a:gd name="connsiteY9" fmla="*/ 1306649 h 2461681"/>
                <a:gd name="connsiteX10" fmla="*/ 1046747 w 1650793"/>
                <a:gd name="connsiteY10" fmla="*/ 1138207 h 2461681"/>
                <a:gd name="connsiteX11" fmla="*/ 1066800 w 1650793"/>
                <a:gd name="connsiteY11" fmla="*/ 1053986 h 2461681"/>
                <a:gd name="connsiteX12" fmla="*/ 1018673 w 1650793"/>
                <a:gd name="connsiteY12" fmla="*/ 1049976 h 2461681"/>
                <a:gd name="connsiteX13" fmla="*/ 974557 w 1650793"/>
                <a:gd name="connsiteY13" fmla="*/ 1049976 h 2461681"/>
                <a:gd name="connsiteX14" fmla="*/ 938463 w 1650793"/>
                <a:gd name="connsiteY14" fmla="*/ 1045965 h 2461681"/>
                <a:gd name="connsiteX15" fmla="*/ 922421 w 1650793"/>
                <a:gd name="connsiteY15" fmla="*/ 1070028 h 2461681"/>
                <a:gd name="connsiteX16" fmla="*/ 898357 w 1650793"/>
                <a:gd name="connsiteY16" fmla="*/ 1066018 h 2461681"/>
                <a:gd name="connsiteX17" fmla="*/ 782052 w 1650793"/>
                <a:gd name="connsiteY17" fmla="*/ 1174302 h 2461681"/>
                <a:gd name="connsiteX18" fmla="*/ 633663 w 1650793"/>
                <a:gd name="connsiteY18" fmla="*/ 1222428 h 2461681"/>
                <a:gd name="connsiteX19" fmla="*/ 513347 w 1650793"/>
                <a:gd name="connsiteY19" fmla="*/ 1186334 h 2461681"/>
                <a:gd name="connsiteX20" fmla="*/ 397042 w 1650793"/>
                <a:gd name="connsiteY20" fmla="*/ 1013881 h 2461681"/>
                <a:gd name="connsiteX21" fmla="*/ 389021 w 1650793"/>
                <a:gd name="connsiteY21" fmla="*/ 977786 h 2461681"/>
                <a:gd name="connsiteX22" fmla="*/ 389021 w 1650793"/>
                <a:gd name="connsiteY22" fmla="*/ 913618 h 2461681"/>
                <a:gd name="connsiteX23" fmla="*/ 433136 w 1650793"/>
                <a:gd name="connsiteY23" fmla="*/ 837418 h 2461681"/>
                <a:gd name="connsiteX24" fmla="*/ 717884 w 1650793"/>
                <a:gd name="connsiteY24" fmla="*/ 544649 h 2461681"/>
                <a:gd name="connsiteX25" fmla="*/ 954505 w 1650793"/>
                <a:gd name="connsiteY25" fmla="*/ 348134 h 2461681"/>
                <a:gd name="connsiteX26" fmla="*/ 1102894 w 1650793"/>
                <a:gd name="connsiteY26" fmla="*/ 263913 h 2461681"/>
                <a:gd name="connsiteX27" fmla="*/ 1223210 w 1650793"/>
                <a:gd name="connsiteY27" fmla="*/ 231828 h 2461681"/>
                <a:gd name="connsiteX28" fmla="*/ 1283368 w 1650793"/>
                <a:gd name="connsiteY28" fmla="*/ 155628 h 2461681"/>
                <a:gd name="connsiteX29" fmla="*/ 1532021 w 1650793"/>
                <a:gd name="connsiteY29" fmla="*/ 3228 h 2461681"/>
                <a:gd name="connsiteX30" fmla="*/ 1640305 w 1650793"/>
                <a:gd name="connsiteY30" fmla="*/ 55365 h 2461681"/>
                <a:gd name="connsiteX31" fmla="*/ 1644315 w 1650793"/>
                <a:gd name="connsiteY31" fmla="*/ 99481 h 2461681"/>
                <a:gd name="connsiteX32" fmla="*/ 1620252 w 1650793"/>
                <a:gd name="connsiteY32" fmla="*/ 251881 h 2461681"/>
                <a:gd name="connsiteX33" fmla="*/ 1624263 w 1650793"/>
                <a:gd name="connsiteY33" fmla="*/ 255892 h 24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650793" h="2461681">
                  <a:moveTo>
                    <a:pt x="0" y="2461681"/>
                  </a:moveTo>
                  <a:cubicBezTo>
                    <a:pt x="46789" y="2457670"/>
                    <a:pt x="93578" y="2453660"/>
                    <a:pt x="128336" y="2433607"/>
                  </a:cubicBezTo>
                  <a:cubicBezTo>
                    <a:pt x="163094" y="2413554"/>
                    <a:pt x="189831" y="2370775"/>
                    <a:pt x="208547" y="2341365"/>
                  </a:cubicBezTo>
                  <a:cubicBezTo>
                    <a:pt x="227263" y="2311954"/>
                    <a:pt x="222584" y="2279202"/>
                    <a:pt x="240631" y="2257144"/>
                  </a:cubicBezTo>
                  <a:cubicBezTo>
                    <a:pt x="258678" y="2235086"/>
                    <a:pt x="290094" y="2217039"/>
                    <a:pt x="316831" y="2209018"/>
                  </a:cubicBezTo>
                  <a:cubicBezTo>
                    <a:pt x="343568" y="2200997"/>
                    <a:pt x="390357" y="2229739"/>
                    <a:pt x="401052" y="2209018"/>
                  </a:cubicBezTo>
                  <a:cubicBezTo>
                    <a:pt x="411747" y="2188297"/>
                    <a:pt x="376321" y="2142176"/>
                    <a:pt x="381000" y="2084692"/>
                  </a:cubicBezTo>
                  <a:cubicBezTo>
                    <a:pt x="385679" y="2027208"/>
                    <a:pt x="395037" y="1942318"/>
                    <a:pt x="429126" y="1864113"/>
                  </a:cubicBezTo>
                  <a:cubicBezTo>
                    <a:pt x="463215" y="1785908"/>
                    <a:pt x="498641" y="1708371"/>
                    <a:pt x="585536" y="1615460"/>
                  </a:cubicBezTo>
                  <a:cubicBezTo>
                    <a:pt x="672431" y="1522549"/>
                    <a:pt x="873626" y="1386191"/>
                    <a:pt x="950494" y="1306649"/>
                  </a:cubicBezTo>
                  <a:cubicBezTo>
                    <a:pt x="1027362" y="1227107"/>
                    <a:pt x="1027363" y="1180317"/>
                    <a:pt x="1046747" y="1138207"/>
                  </a:cubicBezTo>
                  <a:cubicBezTo>
                    <a:pt x="1066131" y="1096097"/>
                    <a:pt x="1071479" y="1068691"/>
                    <a:pt x="1066800" y="1053986"/>
                  </a:cubicBezTo>
                  <a:cubicBezTo>
                    <a:pt x="1062121" y="1039281"/>
                    <a:pt x="1034047" y="1050644"/>
                    <a:pt x="1018673" y="1049976"/>
                  </a:cubicBezTo>
                  <a:cubicBezTo>
                    <a:pt x="1003299" y="1049308"/>
                    <a:pt x="987925" y="1050644"/>
                    <a:pt x="974557" y="1049976"/>
                  </a:cubicBezTo>
                  <a:cubicBezTo>
                    <a:pt x="961189" y="1049307"/>
                    <a:pt x="947152" y="1042623"/>
                    <a:pt x="938463" y="1045965"/>
                  </a:cubicBezTo>
                  <a:cubicBezTo>
                    <a:pt x="929774" y="1049307"/>
                    <a:pt x="929105" y="1066686"/>
                    <a:pt x="922421" y="1070028"/>
                  </a:cubicBezTo>
                  <a:cubicBezTo>
                    <a:pt x="915737" y="1073370"/>
                    <a:pt x="921752" y="1048639"/>
                    <a:pt x="898357" y="1066018"/>
                  </a:cubicBezTo>
                  <a:cubicBezTo>
                    <a:pt x="874962" y="1083397"/>
                    <a:pt x="826168" y="1148234"/>
                    <a:pt x="782052" y="1174302"/>
                  </a:cubicBezTo>
                  <a:cubicBezTo>
                    <a:pt x="737936" y="1200370"/>
                    <a:pt x="678447" y="1220423"/>
                    <a:pt x="633663" y="1222428"/>
                  </a:cubicBezTo>
                  <a:cubicBezTo>
                    <a:pt x="588879" y="1224433"/>
                    <a:pt x="552784" y="1221092"/>
                    <a:pt x="513347" y="1186334"/>
                  </a:cubicBezTo>
                  <a:cubicBezTo>
                    <a:pt x="473910" y="1151576"/>
                    <a:pt x="417763" y="1048639"/>
                    <a:pt x="397042" y="1013881"/>
                  </a:cubicBezTo>
                  <a:cubicBezTo>
                    <a:pt x="376321" y="979123"/>
                    <a:pt x="390358" y="994497"/>
                    <a:pt x="389021" y="977786"/>
                  </a:cubicBezTo>
                  <a:cubicBezTo>
                    <a:pt x="387684" y="961075"/>
                    <a:pt x="381669" y="937013"/>
                    <a:pt x="389021" y="913618"/>
                  </a:cubicBezTo>
                  <a:cubicBezTo>
                    <a:pt x="396374" y="890223"/>
                    <a:pt x="378326" y="898913"/>
                    <a:pt x="433136" y="837418"/>
                  </a:cubicBezTo>
                  <a:cubicBezTo>
                    <a:pt x="487946" y="775923"/>
                    <a:pt x="630989" y="626196"/>
                    <a:pt x="717884" y="544649"/>
                  </a:cubicBezTo>
                  <a:cubicBezTo>
                    <a:pt x="804779" y="463102"/>
                    <a:pt x="890337" y="394923"/>
                    <a:pt x="954505" y="348134"/>
                  </a:cubicBezTo>
                  <a:cubicBezTo>
                    <a:pt x="1018673" y="301345"/>
                    <a:pt x="1058110" y="283297"/>
                    <a:pt x="1102894" y="263913"/>
                  </a:cubicBezTo>
                  <a:cubicBezTo>
                    <a:pt x="1147678" y="244529"/>
                    <a:pt x="1193131" y="249875"/>
                    <a:pt x="1223210" y="231828"/>
                  </a:cubicBezTo>
                  <a:cubicBezTo>
                    <a:pt x="1253289" y="213781"/>
                    <a:pt x="1231900" y="193728"/>
                    <a:pt x="1283368" y="155628"/>
                  </a:cubicBezTo>
                  <a:cubicBezTo>
                    <a:pt x="1334836" y="117528"/>
                    <a:pt x="1472532" y="19938"/>
                    <a:pt x="1532021" y="3228"/>
                  </a:cubicBezTo>
                  <a:cubicBezTo>
                    <a:pt x="1591510" y="-13482"/>
                    <a:pt x="1621589" y="39323"/>
                    <a:pt x="1640305" y="55365"/>
                  </a:cubicBezTo>
                  <a:cubicBezTo>
                    <a:pt x="1659021" y="71407"/>
                    <a:pt x="1647657" y="66728"/>
                    <a:pt x="1644315" y="99481"/>
                  </a:cubicBezTo>
                  <a:cubicBezTo>
                    <a:pt x="1640973" y="132234"/>
                    <a:pt x="1623594" y="225813"/>
                    <a:pt x="1620252" y="251881"/>
                  </a:cubicBezTo>
                  <a:cubicBezTo>
                    <a:pt x="1616910" y="277949"/>
                    <a:pt x="1620586" y="266920"/>
                    <a:pt x="1624263" y="255892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Freeform 28"/>
            <p:cNvSpPr/>
            <p:nvPr userDrawn="1"/>
          </p:nvSpPr>
          <p:spPr>
            <a:xfrm>
              <a:off x="8349664" y="4058653"/>
              <a:ext cx="443173" cy="2256442"/>
            </a:xfrm>
            <a:custGeom>
              <a:avLst/>
              <a:gdLst>
                <a:gd name="connsiteX0" fmla="*/ 48378 w 443173"/>
                <a:gd name="connsiteY0" fmla="*/ 0 h 2256442"/>
                <a:gd name="connsiteX1" fmla="*/ 148641 w 443173"/>
                <a:gd name="connsiteY1" fmla="*/ 52136 h 2256442"/>
                <a:gd name="connsiteX2" fmla="*/ 305052 w 443173"/>
                <a:gd name="connsiteY2" fmla="*/ 240631 h 2256442"/>
                <a:gd name="connsiteX3" fmla="*/ 421357 w 443173"/>
                <a:gd name="connsiteY3" fmla="*/ 541421 h 2256442"/>
                <a:gd name="connsiteX4" fmla="*/ 441410 w 443173"/>
                <a:gd name="connsiteY4" fmla="*/ 786063 h 2256442"/>
                <a:gd name="connsiteX5" fmla="*/ 397294 w 443173"/>
                <a:gd name="connsiteY5" fmla="*/ 1118936 h 2256442"/>
                <a:gd name="connsiteX6" fmla="*/ 297031 w 443173"/>
                <a:gd name="connsiteY6" fmla="*/ 1447800 h 2256442"/>
                <a:gd name="connsiteX7" fmla="*/ 224841 w 443173"/>
                <a:gd name="connsiteY7" fmla="*/ 1612231 h 2256442"/>
                <a:gd name="connsiteX8" fmla="*/ 176715 w 443173"/>
                <a:gd name="connsiteY8" fmla="*/ 1816768 h 2256442"/>
                <a:gd name="connsiteX9" fmla="*/ 156662 w 443173"/>
                <a:gd name="connsiteY9" fmla="*/ 1969168 h 2256442"/>
                <a:gd name="connsiteX10" fmla="*/ 124578 w 443173"/>
                <a:gd name="connsiteY10" fmla="*/ 1969168 h 2256442"/>
                <a:gd name="connsiteX11" fmla="*/ 72441 w 443173"/>
                <a:gd name="connsiteY11" fmla="*/ 2001252 h 2256442"/>
                <a:gd name="connsiteX12" fmla="*/ 8273 w 443173"/>
                <a:gd name="connsiteY12" fmla="*/ 2065421 h 2256442"/>
                <a:gd name="connsiteX13" fmla="*/ 12283 w 443173"/>
                <a:gd name="connsiteY13" fmla="*/ 2169694 h 2256442"/>
                <a:gd name="connsiteX14" fmla="*/ 112547 w 443173"/>
                <a:gd name="connsiteY14" fmla="*/ 2245894 h 2256442"/>
                <a:gd name="connsiteX15" fmla="*/ 136610 w 443173"/>
                <a:gd name="connsiteY15" fmla="*/ 2253915 h 2256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3173" h="2256442">
                  <a:moveTo>
                    <a:pt x="48378" y="0"/>
                  </a:moveTo>
                  <a:cubicBezTo>
                    <a:pt x="77120" y="6015"/>
                    <a:pt x="105862" y="12031"/>
                    <a:pt x="148641" y="52136"/>
                  </a:cubicBezTo>
                  <a:cubicBezTo>
                    <a:pt x="191420" y="92241"/>
                    <a:pt x="259599" y="159084"/>
                    <a:pt x="305052" y="240631"/>
                  </a:cubicBezTo>
                  <a:cubicBezTo>
                    <a:pt x="350505" y="322178"/>
                    <a:pt x="398631" y="450516"/>
                    <a:pt x="421357" y="541421"/>
                  </a:cubicBezTo>
                  <a:cubicBezTo>
                    <a:pt x="444083" y="632326"/>
                    <a:pt x="445420" y="689811"/>
                    <a:pt x="441410" y="786063"/>
                  </a:cubicBezTo>
                  <a:cubicBezTo>
                    <a:pt x="437400" y="882315"/>
                    <a:pt x="421357" y="1008646"/>
                    <a:pt x="397294" y="1118936"/>
                  </a:cubicBezTo>
                  <a:cubicBezTo>
                    <a:pt x="373231" y="1229226"/>
                    <a:pt x="325773" y="1365584"/>
                    <a:pt x="297031" y="1447800"/>
                  </a:cubicBezTo>
                  <a:cubicBezTo>
                    <a:pt x="268289" y="1530016"/>
                    <a:pt x="244894" y="1550737"/>
                    <a:pt x="224841" y="1612231"/>
                  </a:cubicBezTo>
                  <a:cubicBezTo>
                    <a:pt x="204788" y="1673725"/>
                    <a:pt x="188078" y="1757278"/>
                    <a:pt x="176715" y="1816768"/>
                  </a:cubicBezTo>
                  <a:cubicBezTo>
                    <a:pt x="165352" y="1876258"/>
                    <a:pt x="165351" y="1943768"/>
                    <a:pt x="156662" y="1969168"/>
                  </a:cubicBezTo>
                  <a:cubicBezTo>
                    <a:pt x="147973" y="1994568"/>
                    <a:pt x="138615" y="1963821"/>
                    <a:pt x="124578" y="1969168"/>
                  </a:cubicBezTo>
                  <a:cubicBezTo>
                    <a:pt x="110541" y="1974515"/>
                    <a:pt x="91825" y="1985210"/>
                    <a:pt x="72441" y="2001252"/>
                  </a:cubicBezTo>
                  <a:cubicBezTo>
                    <a:pt x="53057" y="2017294"/>
                    <a:pt x="18299" y="2037347"/>
                    <a:pt x="8273" y="2065421"/>
                  </a:cubicBezTo>
                  <a:cubicBezTo>
                    <a:pt x="-1753" y="2093495"/>
                    <a:pt x="-5096" y="2139615"/>
                    <a:pt x="12283" y="2169694"/>
                  </a:cubicBezTo>
                  <a:cubicBezTo>
                    <a:pt x="29662" y="2199773"/>
                    <a:pt x="91826" y="2231857"/>
                    <a:pt x="112547" y="2245894"/>
                  </a:cubicBezTo>
                  <a:cubicBezTo>
                    <a:pt x="133268" y="2259931"/>
                    <a:pt x="134939" y="2256923"/>
                    <a:pt x="136610" y="2253915"/>
                  </a:cubicBezTo>
                </a:path>
              </a:pathLst>
            </a:cu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0" name="Straight Connector 29"/>
            <p:cNvCxnSpPr>
              <a:stCxn id="29" idx="14"/>
            </p:cNvCxnSpPr>
            <p:nvPr userDrawn="1"/>
          </p:nvCxnSpPr>
          <p:spPr>
            <a:xfrm>
              <a:off x="8462211" y="6304547"/>
              <a:ext cx="1444270" cy="1054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98839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4813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rgbClr val="E06E6E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2053" y="3530710"/>
            <a:ext cx="9908053" cy="2717692"/>
            <a:chOff x="-2053" y="3530710"/>
            <a:chExt cx="9908053" cy="2717692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6541221" y="3530710"/>
              <a:ext cx="2409003" cy="2717692"/>
              <a:chOff x="7696200" y="1328480"/>
              <a:chExt cx="971653" cy="1096160"/>
            </a:xfrm>
          </p:grpSpPr>
          <p:cxnSp>
            <p:nvCxnSpPr>
              <p:cNvPr id="26" name="Straight Connector 25"/>
              <p:cNvCxnSpPr/>
              <p:nvPr/>
            </p:nvCxnSpPr>
            <p:spPr>
              <a:xfrm flipV="1">
                <a:off x="8230433" y="2342239"/>
                <a:ext cx="75367" cy="82401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 flipV="1">
                <a:off x="8305800" y="2187460"/>
                <a:ext cx="0" cy="154778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 flipH="1" flipV="1">
                <a:off x="8073905" y="2190475"/>
                <a:ext cx="231895" cy="3015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 flipH="1" flipV="1">
                <a:off x="8072192" y="2077936"/>
                <a:ext cx="5008" cy="109526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>
                <a:off x="7696200" y="1554578"/>
                <a:ext cx="152400" cy="114525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 flipH="1" flipV="1">
                <a:off x="8189990" y="1328480"/>
                <a:ext cx="1510" cy="171855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/>
            </p:nvCxnSpPr>
            <p:spPr>
              <a:xfrm flipV="1">
                <a:off x="8462217" y="1554585"/>
                <a:ext cx="205636" cy="102463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/>
            </p:nvCxnSpPr>
            <p:spPr>
              <a:xfrm>
                <a:off x="8458200" y="2023816"/>
                <a:ext cx="209653" cy="118405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 flipH="1">
                <a:off x="7712127" y="2008900"/>
                <a:ext cx="212673" cy="106231"/>
              </a:xfrm>
              <a:prstGeom prst="line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Arc 34"/>
              <p:cNvSpPr/>
              <p:nvPr/>
            </p:nvSpPr>
            <p:spPr>
              <a:xfrm rot="15146364">
                <a:off x="8053166" y="1624896"/>
                <a:ext cx="439256" cy="473118"/>
              </a:xfrm>
              <a:prstGeom prst="arc">
                <a:avLst/>
              </a:prstGeom>
              <a:ln w="28575">
                <a:solidFill>
                  <a:srgbClr val="E06E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7901130" y="1562958"/>
                <a:ext cx="561087" cy="525902"/>
                <a:chOff x="6440857" y="213556"/>
                <a:chExt cx="1009621" cy="946309"/>
              </a:xfrm>
            </p:grpSpPr>
            <p:sp>
              <p:nvSpPr>
                <p:cNvPr id="37" name="Freeform 536"/>
                <p:cNvSpPr>
                  <a:spLocks/>
                </p:cNvSpPr>
                <p:nvPr/>
              </p:nvSpPr>
              <p:spPr bwMode="auto">
                <a:xfrm>
                  <a:off x="7185759" y="701780"/>
                  <a:ext cx="264719" cy="433975"/>
                </a:xfrm>
                <a:custGeom>
                  <a:avLst/>
                  <a:gdLst/>
                  <a:ahLst/>
                  <a:cxnLst>
                    <a:cxn ang="0">
                      <a:pos x="0" y="72"/>
                    </a:cxn>
                    <a:cxn ang="0">
                      <a:pos x="0" y="72"/>
                    </a:cxn>
                    <a:cxn ang="0">
                      <a:pos x="12" y="63"/>
                    </a:cxn>
                    <a:cxn ang="0">
                      <a:pos x="24" y="53"/>
                    </a:cxn>
                    <a:cxn ang="0">
                      <a:pos x="24" y="53"/>
                    </a:cxn>
                    <a:cxn ang="0">
                      <a:pos x="31" y="42"/>
                    </a:cxn>
                    <a:cxn ang="0">
                      <a:pos x="38" y="29"/>
                    </a:cxn>
                    <a:cxn ang="0">
                      <a:pos x="42" y="15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72">
                      <a:moveTo>
                        <a:pt x="0" y="72"/>
                      </a:moveTo>
                      <a:lnTo>
                        <a:pt x="0" y="72"/>
                      </a:lnTo>
                      <a:lnTo>
                        <a:pt x="12" y="63"/>
                      </a:lnTo>
                      <a:lnTo>
                        <a:pt x="24" y="53"/>
                      </a:lnTo>
                      <a:lnTo>
                        <a:pt x="24" y="53"/>
                      </a:lnTo>
                      <a:lnTo>
                        <a:pt x="31" y="42"/>
                      </a:lnTo>
                      <a:lnTo>
                        <a:pt x="38" y="29"/>
                      </a:lnTo>
                      <a:lnTo>
                        <a:pt x="42" y="15"/>
                      </a:lnTo>
                      <a:lnTo>
                        <a:pt x="43" y="0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" name="Freeform 537"/>
                <p:cNvSpPr>
                  <a:spLocks/>
                </p:cNvSpPr>
                <p:nvPr/>
              </p:nvSpPr>
              <p:spPr bwMode="auto">
                <a:xfrm>
                  <a:off x="7327350" y="388354"/>
                  <a:ext cx="123124" cy="313427"/>
                </a:xfrm>
                <a:custGeom>
                  <a:avLst/>
                  <a:gdLst/>
                  <a:ahLst/>
                  <a:cxnLst>
                    <a:cxn ang="0">
                      <a:pos x="20" y="52"/>
                    </a:cxn>
                    <a:cxn ang="0">
                      <a:pos x="20" y="52"/>
                    </a:cxn>
                    <a:cxn ang="0">
                      <a:pos x="19" y="38"/>
                    </a:cxn>
                    <a:cxn ang="0">
                      <a:pos x="15" y="24"/>
                    </a:cxn>
                    <a:cxn ang="0">
                      <a:pos x="8" y="1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0" h="52">
                      <a:moveTo>
                        <a:pt x="20" y="52"/>
                      </a:moveTo>
                      <a:lnTo>
                        <a:pt x="20" y="52"/>
                      </a:lnTo>
                      <a:lnTo>
                        <a:pt x="19" y="38"/>
                      </a:lnTo>
                      <a:lnTo>
                        <a:pt x="15" y="24"/>
                      </a:lnTo>
                      <a:lnTo>
                        <a:pt x="8" y="1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" name="Freeform 538"/>
                <p:cNvSpPr>
                  <a:spLocks/>
                </p:cNvSpPr>
                <p:nvPr/>
              </p:nvSpPr>
              <p:spPr bwMode="auto">
                <a:xfrm>
                  <a:off x="6440857" y="388354"/>
                  <a:ext cx="116970" cy="313427"/>
                </a:xfrm>
                <a:custGeom>
                  <a:avLst/>
                  <a:gdLst/>
                  <a:ahLst/>
                  <a:cxnLst>
                    <a:cxn ang="0">
                      <a:pos x="19" y="0"/>
                    </a:cxn>
                    <a:cxn ang="0">
                      <a:pos x="19" y="0"/>
                    </a:cxn>
                    <a:cxn ang="0">
                      <a:pos x="12" y="11"/>
                    </a:cxn>
                    <a:cxn ang="0">
                      <a:pos x="5" y="24"/>
                    </a:cxn>
                    <a:cxn ang="0">
                      <a:pos x="2" y="38"/>
                    </a:cxn>
                    <a:cxn ang="0">
                      <a:pos x="0" y="52"/>
                    </a:cxn>
                  </a:cxnLst>
                  <a:rect l="0" t="0" r="r" b="b"/>
                  <a:pathLst>
                    <a:path w="19" h="52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12" y="11"/>
                      </a:lnTo>
                      <a:lnTo>
                        <a:pt x="5" y="24"/>
                      </a:lnTo>
                      <a:lnTo>
                        <a:pt x="2" y="38"/>
                      </a:lnTo>
                      <a:lnTo>
                        <a:pt x="0" y="52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" name="Freeform 539"/>
                <p:cNvSpPr>
                  <a:spLocks/>
                </p:cNvSpPr>
                <p:nvPr/>
              </p:nvSpPr>
              <p:spPr bwMode="auto">
                <a:xfrm>
                  <a:off x="6440857" y="701780"/>
                  <a:ext cx="307810" cy="458085"/>
                </a:xfrm>
                <a:custGeom>
                  <a:avLst/>
                  <a:gdLst/>
                  <a:ahLst/>
                  <a:cxnLst>
                    <a:cxn ang="0">
                      <a:pos x="50" y="76"/>
                    </a:cxn>
                    <a:cxn ang="0">
                      <a:pos x="50" y="76"/>
                    </a:cxn>
                    <a:cxn ang="0">
                      <a:pos x="40" y="69"/>
                    </a:cxn>
                    <a:cxn ang="0">
                      <a:pos x="30" y="63"/>
                    </a:cxn>
                    <a:cxn ang="0">
                      <a:pos x="22" y="55"/>
                    </a:cxn>
                    <a:cxn ang="0">
                      <a:pos x="14" y="45"/>
                    </a:cxn>
                    <a:cxn ang="0">
                      <a:pos x="8" y="35"/>
                    </a:cxn>
                    <a:cxn ang="0">
                      <a:pos x="4" y="25"/>
                    </a:cxn>
                    <a:cxn ang="0">
                      <a:pos x="2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0" h="76">
                      <a:moveTo>
                        <a:pt x="50" y="76"/>
                      </a:moveTo>
                      <a:lnTo>
                        <a:pt x="50" y="76"/>
                      </a:lnTo>
                      <a:lnTo>
                        <a:pt x="40" y="69"/>
                      </a:lnTo>
                      <a:lnTo>
                        <a:pt x="30" y="63"/>
                      </a:lnTo>
                      <a:lnTo>
                        <a:pt x="22" y="55"/>
                      </a:lnTo>
                      <a:lnTo>
                        <a:pt x="14" y="45"/>
                      </a:lnTo>
                      <a:lnTo>
                        <a:pt x="8" y="35"/>
                      </a:lnTo>
                      <a:lnTo>
                        <a:pt x="4" y="25"/>
                      </a:lnTo>
                      <a:lnTo>
                        <a:pt x="2" y="12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" name="Freeform 540"/>
                <p:cNvSpPr>
                  <a:spLocks/>
                </p:cNvSpPr>
                <p:nvPr/>
              </p:nvSpPr>
              <p:spPr bwMode="auto">
                <a:xfrm>
                  <a:off x="6945666" y="213556"/>
                  <a:ext cx="381685" cy="1747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0" y="1"/>
                    </a:cxn>
                    <a:cxn ang="0">
                      <a:pos x="19" y="2"/>
                    </a:cxn>
                    <a:cxn ang="0">
                      <a:pos x="26" y="5"/>
                    </a:cxn>
                    <a:cxn ang="0">
                      <a:pos x="35" y="7"/>
                    </a:cxn>
                    <a:cxn ang="0">
                      <a:pos x="43" y="12"/>
                    </a:cxn>
                    <a:cxn ang="0">
                      <a:pos x="50" y="17"/>
                    </a:cxn>
                    <a:cxn ang="0">
                      <a:pos x="57" y="22"/>
                    </a:cxn>
                    <a:cxn ang="0">
                      <a:pos x="62" y="29"/>
                    </a:cxn>
                  </a:cxnLst>
                  <a:rect l="0" t="0" r="r" b="b"/>
                  <a:pathLst>
                    <a:path w="62" h="2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0" y="1"/>
                      </a:lnTo>
                      <a:lnTo>
                        <a:pt x="19" y="2"/>
                      </a:lnTo>
                      <a:lnTo>
                        <a:pt x="26" y="5"/>
                      </a:lnTo>
                      <a:lnTo>
                        <a:pt x="35" y="7"/>
                      </a:lnTo>
                      <a:lnTo>
                        <a:pt x="43" y="12"/>
                      </a:lnTo>
                      <a:lnTo>
                        <a:pt x="50" y="17"/>
                      </a:lnTo>
                      <a:lnTo>
                        <a:pt x="57" y="22"/>
                      </a:lnTo>
                      <a:lnTo>
                        <a:pt x="62" y="29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" name="Freeform 541"/>
                <p:cNvSpPr>
                  <a:spLocks/>
                </p:cNvSpPr>
                <p:nvPr/>
              </p:nvSpPr>
              <p:spPr bwMode="auto">
                <a:xfrm>
                  <a:off x="6557827" y="213556"/>
                  <a:ext cx="387843" cy="174794"/>
                </a:xfrm>
                <a:custGeom>
                  <a:avLst/>
                  <a:gdLst/>
                  <a:ahLst/>
                  <a:cxnLst>
                    <a:cxn ang="0">
                      <a:pos x="63" y="0"/>
                    </a:cxn>
                    <a:cxn ang="0">
                      <a:pos x="63" y="0"/>
                    </a:cxn>
                    <a:cxn ang="0">
                      <a:pos x="54" y="1"/>
                    </a:cxn>
                    <a:cxn ang="0">
                      <a:pos x="45" y="2"/>
                    </a:cxn>
                    <a:cxn ang="0">
                      <a:pos x="36" y="5"/>
                    </a:cxn>
                    <a:cxn ang="0">
                      <a:pos x="28" y="7"/>
                    </a:cxn>
                    <a:cxn ang="0">
                      <a:pos x="19" y="12"/>
                    </a:cxn>
                    <a:cxn ang="0">
                      <a:pos x="13" y="17"/>
                    </a:cxn>
                    <a:cxn ang="0">
                      <a:pos x="7" y="22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63" h="29">
                      <a:moveTo>
                        <a:pt x="63" y="0"/>
                      </a:moveTo>
                      <a:lnTo>
                        <a:pt x="63" y="0"/>
                      </a:lnTo>
                      <a:lnTo>
                        <a:pt x="54" y="1"/>
                      </a:lnTo>
                      <a:lnTo>
                        <a:pt x="45" y="2"/>
                      </a:lnTo>
                      <a:lnTo>
                        <a:pt x="36" y="5"/>
                      </a:lnTo>
                      <a:lnTo>
                        <a:pt x="28" y="7"/>
                      </a:lnTo>
                      <a:lnTo>
                        <a:pt x="19" y="12"/>
                      </a:lnTo>
                      <a:lnTo>
                        <a:pt x="13" y="17"/>
                      </a:lnTo>
                      <a:lnTo>
                        <a:pt x="7" y="22"/>
                      </a:lnTo>
                      <a:lnTo>
                        <a:pt x="0" y="29"/>
                      </a:lnTo>
                    </a:path>
                  </a:pathLst>
                </a:custGeom>
                <a:noFill/>
                <a:ln w="28575">
                  <a:solidFill>
                    <a:srgbClr val="E06E6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</p:grpSp>
        </p:grpSp>
        <p:cxnSp>
          <p:nvCxnSpPr>
            <p:cNvPr id="43" name="Straight Connector 42"/>
            <p:cNvCxnSpPr/>
            <p:nvPr userDrawn="1"/>
          </p:nvCxnSpPr>
          <p:spPr>
            <a:xfrm>
              <a:off x="-2053" y="6248400"/>
              <a:ext cx="7681323" cy="0"/>
            </a:xfrm>
            <a:prstGeom prst="line">
              <a:avLst/>
            </a:prstGeom>
            <a:ln w="28575">
              <a:solidFill>
                <a:srgbClr val="E06E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H="1" flipV="1">
              <a:off x="7512610" y="6044104"/>
              <a:ext cx="166660" cy="204296"/>
            </a:xfrm>
            <a:prstGeom prst="line">
              <a:avLst/>
            </a:prstGeom>
            <a:ln w="28575">
              <a:solidFill>
                <a:srgbClr val="E06E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7512609" y="5821735"/>
              <a:ext cx="0" cy="222367"/>
            </a:xfrm>
            <a:prstGeom prst="line">
              <a:avLst/>
            </a:prstGeom>
            <a:ln w="28575">
              <a:solidFill>
                <a:srgbClr val="E06E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7865736" y="6248400"/>
              <a:ext cx="2040264" cy="2"/>
            </a:xfrm>
            <a:prstGeom prst="line">
              <a:avLst/>
            </a:prstGeom>
            <a:ln w="28575">
              <a:solidFill>
                <a:srgbClr val="E06E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33972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771524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dirty="0">
                <a:solidFill>
                  <a:schemeClr val="bg1"/>
                </a:solidFill>
                <a:latin typeface="黑体" pitchFamily="2" charset="-122"/>
                <a:ea typeface="黑体" pitchFamily="2" charset="-122"/>
                <a:cs typeface="Arial"/>
              </a:rPr>
              <a:t>关于凯捷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50000"/>
              </a:lnSpc>
            </a:pP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在全世界</a:t>
            </a:r>
            <a:r>
              <a:rPr lang="en-US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44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个国家拥有大约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125,000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名员工的凯捷，是全球最著名的管理咨询、信息技术和外包服务提供商之一。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 2012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年，凯捷全球上市部分营业额达到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103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亿欧元。凯捷通过其独有的“协同业务体验”工作方式，利用其全球交付模式“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Rightshore®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”，有效平衡世界各地的最佳资源，帮助客户创建并提供适应其业务需求的最优化解决方案。</a:t>
            </a:r>
            <a:endParaRPr lang="en-US" altLang="zh-CN" sz="1000" kern="1200" dirty="0">
              <a:solidFill>
                <a:schemeClr val="bg1"/>
              </a:solidFill>
              <a:effectLst/>
              <a:latin typeface="黑体" pitchFamily="2" charset="-122"/>
              <a:ea typeface="黑体" pitchFamily="2" charset="-122"/>
              <a:cs typeface="+mn-cs"/>
            </a:endParaRPr>
          </a:p>
          <a:p>
            <a:pPr marL="0" indent="0" algn="just">
              <a:lnSpc>
                <a:spcPct val="150000"/>
              </a:lnSpc>
            </a:pPr>
            <a:endParaRPr lang="en-US" altLang="zh-CN" sz="1000" kern="1200" dirty="0">
              <a:solidFill>
                <a:schemeClr val="bg1"/>
              </a:solidFill>
              <a:effectLst/>
              <a:latin typeface="黑体" pitchFamily="2" charset="-122"/>
              <a:ea typeface="黑体" pitchFamily="2" charset="-122"/>
              <a:cs typeface="+mn-cs"/>
            </a:endParaRPr>
          </a:p>
          <a:p>
            <a:pPr marL="0" indent="0" algn="just">
              <a:lnSpc>
                <a:spcPct val="150000"/>
              </a:lnSpc>
            </a:pPr>
            <a:r>
              <a:rPr lang="fr-FR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Rightshore®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是凯捷的一项商标</a:t>
            </a: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1605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393071" y="2975880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dirty="0">
                <a:solidFill>
                  <a:schemeClr val="bg1"/>
                </a:solidFill>
                <a:latin typeface="黑体" pitchFamily="2" charset="-122"/>
                <a:ea typeface="黑体" pitchFamily="2" charset="-122"/>
                <a:cs typeface="Arial"/>
              </a:rPr>
              <a:t>关于凯捷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50000"/>
              </a:lnSpc>
            </a:pP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在全世界</a:t>
            </a:r>
            <a:r>
              <a:rPr lang="en-US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44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个国家拥有大约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125,000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名员工的凯捷，是全球最著名的管理咨询、信息技术和外包服务提供商之一。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 2012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年，凯捷全球上市部分营业额达到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103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亿欧元。凯捷通过其独有的“协同业务体验”工作方式，利用其全球交付模式“</a:t>
            </a:r>
            <a:r>
              <a:rPr lang="en-GB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Rightshore®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”，有效平衡世界各地的最佳资源，帮助客户创建并提供适应其业务需求的最优化解决方案。</a:t>
            </a:r>
            <a:endParaRPr lang="fr-FR" altLang="zh-CN" sz="1000" kern="1200" dirty="0">
              <a:solidFill>
                <a:schemeClr val="bg1"/>
              </a:solidFill>
              <a:effectLst/>
              <a:latin typeface="黑体" pitchFamily="2" charset="-122"/>
              <a:ea typeface="黑体" pitchFamily="2" charset="-122"/>
              <a:cs typeface="+mn-cs"/>
            </a:endParaRPr>
          </a:p>
          <a:p>
            <a:pPr marL="0" indent="0" algn="just"/>
            <a:endParaRPr lang="fr-FR" altLang="zh-CN" sz="1000" kern="1200" dirty="0">
              <a:solidFill>
                <a:schemeClr val="bg1"/>
              </a:solidFill>
              <a:effectLst/>
              <a:latin typeface="黑体" pitchFamily="2" charset="-122"/>
              <a:ea typeface="黑体" pitchFamily="2" charset="-122"/>
              <a:cs typeface="+mn-cs"/>
            </a:endParaRPr>
          </a:p>
          <a:p>
            <a:pPr marL="0" indent="0" algn="just"/>
            <a:r>
              <a:rPr lang="fr-FR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Rightshore®</a:t>
            </a:r>
            <a:r>
              <a:rPr lang="zh-CN" altLang="zh-CN" sz="1000" kern="1200" dirty="0">
                <a:solidFill>
                  <a:schemeClr val="bg1"/>
                </a:solidFill>
                <a:effectLst/>
                <a:latin typeface="黑体" pitchFamily="2" charset="-122"/>
                <a:ea typeface="黑体" pitchFamily="2" charset="-122"/>
                <a:cs typeface="+mn-cs"/>
              </a:rPr>
              <a:t>是凯捷的一项商标</a:t>
            </a: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Image 337" descr="CBE_Label_ppt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833" y="2827025"/>
            <a:ext cx="519572" cy="52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9469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5308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  <a:lvl2pPr>
              <a:defRPr sz="1400">
                <a:latin typeface="Arial" pitchFamily="34" charset="0"/>
                <a:cs typeface="Arial" pitchFamily="34" charset="0"/>
              </a:defRPr>
            </a:lvl2pPr>
            <a:lvl3pPr>
              <a:defRPr sz="1200">
                <a:latin typeface="Arial" pitchFamily="34" charset="0"/>
                <a:cs typeface="Arial" pitchFamily="34" charset="0"/>
              </a:defRPr>
            </a:lvl3pPr>
            <a:lvl4pPr>
              <a:defRPr sz="1100">
                <a:latin typeface="Arial" pitchFamily="34" charset="0"/>
                <a:cs typeface="Arial" pitchFamily="34" charset="0"/>
              </a:defRPr>
            </a:lvl4pPr>
            <a:lvl5pPr>
              <a:defRPr sz="11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  <a:lvl2pPr>
              <a:defRPr sz="1400">
                <a:latin typeface="Arial" pitchFamily="34" charset="0"/>
                <a:cs typeface="Arial" pitchFamily="34" charset="0"/>
              </a:defRPr>
            </a:lvl2pPr>
            <a:lvl3pPr>
              <a:defRPr sz="1200">
                <a:latin typeface="Arial" pitchFamily="34" charset="0"/>
                <a:cs typeface="Arial" pitchFamily="34" charset="0"/>
              </a:defRPr>
            </a:lvl3pPr>
            <a:lvl4pPr>
              <a:defRPr sz="1100">
                <a:latin typeface="Arial" pitchFamily="34" charset="0"/>
                <a:cs typeface="Arial" pitchFamily="34" charset="0"/>
              </a:defRPr>
            </a:lvl4pPr>
            <a:lvl5pPr>
              <a:defRPr sz="11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8348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8519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8338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16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3437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044BFEB-68A6-410D-89C4-2B24B7A40313}" type="datetimeFigureOut">
              <a:rPr lang="zh-CN" altLang="en-US" smtClean="0"/>
              <a:pPr/>
              <a:t>2016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2BE167A-6BFC-4AEE-8EEB-F1AAFE2FEE7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2202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6.png"/><Relationship Id="rId26" Type="http://schemas.openxmlformats.org/officeDocument/2006/relationships/image" Target="../media/image10.gif"/><Relationship Id="rId3" Type="http://schemas.openxmlformats.org/officeDocument/2006/relationships/slideLayout" Target="../slideLayouts/slideLayout43.xml"/><Relationship Id="rId21" Type="http://schemas.openxmlformats.org/officeDocument/2006/relationships/hyperlink" Target="http://www.twitter.com/capgemini" TargetMode="Externa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hyperlink" Target="http://www.facebook.com/Capgemini" TargetMode="External"/><Relationship Id="rId25" Type="http://schemas.openxmlformats.org/officeDocument/2006/relationships/hyperlink" Target="http://www.slideshare.net/capgemini" TargetMode="Externa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4.emf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41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9.png"/><Relationship Id="rId5" Type="http://schemas.openxmlformats.org/officeDocument/2006/relationships/vmlDrawing" Target="../drawings/vmlDrawing2.vml"/><Relationship Id="rId15" Type="http://schemas.openxmlformats.org/officeDocument/2006/relationships/oleObject" Target="../embeddings/oleObject2.bin"/><Relationship Id="rId23" Type="http://schemas.openxmlformats.org/officeDocument/2006/relationships/hyperlink" Target="http://www.youtube.com/capgemini" TargetMode="External"/><Relationship Id="rId28" Type="http://schemas.openxmlformats.org/officeDocument/2006/relationships/image" Target="../media/image12.png"/><Relationship Id="rId10" Type="http://schemas.openxmlformats.org/officeDocument/2006/relationships/tags" Target="../tags/tag14.xml"/><Relationship Id="rId19" Type="http://schemas.openxmlformats.org/officeDocument/2006/relationships/hyperlink" Target="http://www.linkedin.com/company/capgemini" TargetMode="External"/><Relationship Id="rId4" Type="http://schemas.openxmlformats.org/officeDocument/2006/relationships/theme" Target="../theme/theme5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image" Target="../media/image8.png"/><Relationship Id="rId27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6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0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5" descr="D:\shelly\identity\Logo\最新\logo.pn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9600" y="304800"/>
            <a:ext cx="1491508" cy="299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2783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7" name="Rectangle 7"/>
          <p:cNvSpPr/>
          <p:nvPr userDrawn="1"/>
        </p:nvSpPr>
        <p:spPr bwMode="auto">
          <a:xfrm>
            <a:off x="5" y="-11198"/>
            <a:ext cx="9913364" cy="177983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31793 w 10562072"/>
              <a:gd name="connsiteY0" fmla="*/ 1372297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31793 w 10562072"/>
              <a:gd name="connsiteY7" fmla="*/ 1372297 h 2958168"/>
              <a:gd name="connsiteX0" fmla="*/ 0 w 10570894"/>
              <a:gd name="connsiteY0" fmla="*/ 882392 h 2958168"/>
              <a:gd name="connsiteX1" fmla="*/ 10570477 w 10570894"/>
              <a:gd name="connsiteY1" fmla="*/ 0 h 2958168"/>
              <a:gd name="connsiteX2" fmla="*/ 10569979 w 10570894"/>
              <a:gd name="connsiteY2" fmla="*/ 1476338 h 2958168"/>
              <a:gd name="connsiteX3" fmla="*/ 9297416 w 10570894"/>
              <a:gd name="connsiteY3" fmla="*/ 2153103 h 2958168"/>
              <a:gd name="connsiteX4" fmla="*/ 2326380 w 10570894"/>
              <a:gd name="connsiteY4" fmla="*/ 2159512 h 2958168"/>
              <a:gd name="connsiteX5" fmla="*/ 1189711 w 10570894"/>
              <a:gd name="connsiteY5" fmla="*/ 2958168 h 2958168"/>
              <a:gd name="connsiteX6" fmla="*/ 8822 w 10570894"/>
              <a:gd name="connsiteY6" fmla="*/ 2174065 h 2958168"/>
              <a:gd name="connsiteX7" fmla="*/ 0 w 10570894"/>
              <a:gd name="connsiteY7" fmla="*/ 882392 h 2958168"/>
              <a:gd name="connsiteX0" fmla="*/ 0 w 10600944"/>
              <a:gd name="connsiteY0" fmla="*/ 303414 h 2379190"/>
              <a:gd name="connsiteX1" fmla="*/ 10600938 w 10600944"/>
              <a:gd name="connsiteY1" fmla="*/ 0 h 2379190"/>
              <a:gd name="connsiteX2" fmla="*/ 10569979 w 10600944"/>
              <a:gd name="connsiteY2" fmla="*/ 897360 h 2379190"/>
              <a:gd name="connsiteX3" fmla="*/ 9297416 w 10600944"/>
              <a:gd name="connsiteY3" fmla="*/ 1574125 h 2379190"/>
              <a:gd name="connsiteX4" fmla="*/ 2326380 w 10600944"/>
              <a:gd name="connsiteY4" fmla="*/ 1580534 h 2379190"/>
              <a:gd name="connsiteX5" fmla="*/ 1189711 w 10600944"/>
              <a:gd name="connsiteY5" fmla="*/ 2379190 h 2379190"/>
              <a:gd name="connsiteX6" fmla="*/ 8822 w 10600944"/>
              <a:gd name="connsiteY6" fmla="*/ 1595087 h 2379190"/>
              <a:gd name="connsiteX7" fmla="*/ 0 w 10600944"/>
              <a:gd name="connsiteY7" fmla="*/ 303414 h 2379190"/>
              <a:gd name="connsiteX0" fmla="*/ 0 w 10580649"/>
              <a:gd name="connsiteY0" fmla="*/ -1 h 2075775"/>
              <a:gd name="connsiteX1" fmla="*/ 10580630 w 10580649"/>
              <a:gd name="connsiteY1" fmla="*/ 108550 h 2075775"/>
              <a:gd name="connsiteX2" fmla="*/ 10569979 w 10580649"/>
              <a:gd name="connsiteY2" fmla="*/ 593945 h 2075775"/>
              <a:gd name="connsiteX3" fmla="*/ 9297416 w 10580649"/>
              <a:gd name="connsiteY3" fmla="*/ 1270710 h 2075775"/>
              <a:gd name="connsiteX4" fmla="*/ 2326380 w 10580649"/>
              <a:gd name="connsiteY4" fmla="*/ 1277119 h 2075775"/>
              <a:gd name="connsiteX5" fmla="*/ 1189711 w 10580649"/>
              <a:gd name="connsiteY5" fmla="*/ 2075775 h 2075775"/>
              <a:gd name="connsiteX6" fmla="*/ 8822 w 10580649"/>
              <a:gd name="connsiteY6" fmla="*/ 1291672 h 2075775"/>
              <a:gd name="connsiteX7" fmla="*/ 0 w 10580649"/>
              <a:gd name="connsiteY7" fmla="*/ -1 h 2075775"/>
              <a:gd name="connsiteX0" fmla="*/ 0 w 10570083"/>
              <a:gd name="connsiteY0" fmla="*/ 0 h 2075776"/>
              <a:gd name="connsiteX1" fmla="*/ 10560322 w 10570083"/>
              <a:gd name="connsiteY1" fmla="*/ 8344 h 2075776"/>
              <a:gd name="connsiteX2" fmla="*/ 10569979 w 10570083"/>
              <a:gd name="connsiteY2" fmla="*/ 593946 h 2075776"/>
              <a:gd name="connsiteX3" fmla="*/ 9297416 w 10570083"/>
              <a:gd name="connsiteY3" fmla="*/ 1270711 h 2075776"/>
              <a:gd name="connsiteX4" fmla="*/ 2326380 w 10570083"/>
              <a:gd name="connsiteY4" fmla="*/ 1277120 h 2075776"/>
              <a:gd name="connsiteX5" fmla="*/ 1189711 w 10570083"/>
              <a:gd name="connsiteY5" fmla="*/ 2075776 h 2075776"/>
              <a:gd name="connsiteX6" fmla="*/ 8822 w 10570083"/>
              <a:gd name="connsiteY6" fmla="*/ 1291673 h 2075776"/>
              <a:gd name="connsiteX7" fmla="*/ 0 w 10570083"/>
              <a:gd name="connsiteY7" fmla="*/ 0 h 2075776"/>
              <a:gd name="connsiteX0" fmla="*/ 0 w 10570083"/>
              <a:gd name="connsiteY0" fmla="*/ 0 h 2075776"/>
              <a:gd name="connsiteX1" fmla="*/ 10560322 w 10570083"/>
              <a:gd name="connsiteY1" fmla="*/ 8344 h 2075776"/>
              <a:gd name="connsiteX2" fmla="*/ 10569979 w 10570083"/>
              <a:gd name="connsiteY2" fmla="*/ 593946 h 2075776"/>
              <a:gd name="connsiteX3" fmla="*/ 9414778 w 10570083"/>
              <a:gd name="connsiteY3" fmla="*/ 1270711 h 2075776"/>
              <a:gd name="connsiteX4" fmla="*/ 2326380 w 10570083"/>
              <a:gd name="connsiteY4" fmla="*/ 1277120 h 2075776"/>
              <a:gd name="connsiteX5" fmla="*/ 1189711 w 10570083"/>
              <a:gd name="connsiteY5" fmla="*/ 2075776 h 2075776"/>
              <a:gd name="connsiteX6" fmla="*/ 8822 w 10570083"/>
              <a:gd name="connsiteY6" fmla="*/ 1291673 h 2075776"/>
              <a:gd name="connsiteX7" fmla="*/ 0 w 10570083"/>
              <a:gd name="connsiteY7" fmla="*/ 0 h 2075776"/>
              <a:gd name="connsiteX0" fmla="*/ 0 w 11266701"/>
              <a:gd name="connsiteY0" fmla="*/ 0 h 2075776"/>
              <a:gd name="connsiteX1" fmla="*/ 10560322 w 11266701"/>
              <a:gd name="connsiteY1" fmla="*/ 8344 h 2075776"/>
              <a:gd name="connsiteX2" fmla="*/ 9414778 w 11266701"/>
              <a:gd name="connsiteY2" fmla="*/ 1270711 h 2075776"/>
              <a:gd name="connsiteX3" fmla="*/ 2326380 w 11266701"/>
              <a:gd name="connsiteY3" fmla="*/ 1277120 h 2075776"/>
              <a:gd name="connsiteX4" fmla="*/ 1189711 w 11266701"/>
              <a:gd name="connsiteY4" fmla="*/ 2075776 h 2075776"/>
              <a:gd name="connsiteX5" fmla="*/ 8822 w 11266701"/>
              <a:gd name="connsiteY5" fmla="*/ 1291673 h 2075776"/>
              <a:gd name="connsiteX6" fmla="*/ 0 w 11266701"/>
              <a:gd name="connsiteY6" fmla="*/ 0 h 2075776"/>
              <a:gd name="connsiteX0" fmla="*/ 0 w 10419327"/>
              <a:gd name="connsiteY0" fmla="*/ 0 h 2075776"/>
              <a:gd name="connsiteX1" fmla="*/ 9215174 w 10419327"/>
              <a:gd name="connsiteY1" fmla="*/ 404327 h 2075776"/>
              <a:gd name="connsiteX2" fmla="*/ 9414778 w 10419327"/>
              <a:gd name="connsiteY2" fmla="*/ 1270711 h 2075776"/>
              <a:gd name="connsiteX3" fmla="*/ 2326380 w 10419327"/>
              <a:gd name="connsiteY3" fmla="*/ 1277120 h 2075776"/>
              <a:gd name="connsiteX4" fmla="*/ 1189711 w 10419327"/>
              <a:gd name="connsiteY4" fmla="*/ 2075776 h 2075776"/>
              <a:gd name="connsiteX5" fmla="*/ 8822 w 10419327"/>
              <a:gd name="connsiteY5" fmla="*/ 1291673 h 2075776"/>
              <a:gd name="connsiteX6" fmla="*/ 0 w 10419327"/>
              <a:gd name="connsiteY6" fmla="*/ 0 h 2075776"/>
              <a:gd name="connsiteX0" fmla="*/ 0 w 9974863"/>
              <a:gd name="connsiteY0" fmla="*/ 0 h 2075776"/>
              <a:gd name="connsiteX1" fmla="*/ 9215174 w 9974863"/>
              <a:gd name="connsiteY1" fmla="*/ 404327 h 2075776"/>
              <a:gd name="connsiteX2" fmla="*/ 9414778 w 9974863"/>
              <a:gd name="connsiteY2" fmla="*/ 1270711 h 2075776"/>
              <a:gd name="connsiteX3" fmla="*/ 2326380 w 9974863"/>
              <a:gd name="connsiteY3" fmla="*/ 1277120 h 2075776"/>
              <a:gd name="connsiteX4" fmla="*/ 1189711 w 9974863"/>
              <a:gd name="connsiteY4" fmla="*/ 2075776 h 2075776"/>
              <a:gd name="connsiteX5" fmla="*/ 8822 w 9974863"/>
              <a:gd name="connsiteY5" fmla="*/ 1291673 h 2075776"/>
              <a:gd name="connsiteX6" fmla="*/ 0 w 9974863"/>
              <a:gd name="connsiteY6" fmla="*/ 0 h 2075776"/>
              <a:gd name="connsiteX0" fmla="*/ 0 w 9414778"/>
              <a:gd name="connsiteY0" fmla="*/ 0 h 2075776"/>
              <a:gd name="connsiteX1" fmla="*/ 9215174 w 9414778"/>
              <a:gd name="connsiteY1" fmla="*/ 404327 h 2075776"/>
              <a:gd name="connsiteX2" fmla="*/ 9414778 w 9414778"/>
              <a:gd name="connsiteY2" fmla="*/ 1270711 h 2075776"/>
              <a:gd name="connsiteX3" fmla="*/ 2326380 w 9414778"/>
              <a:gd name="connsiteY3" fmla="*/ 1277120 h 2075776"/>
              <a:gd name="connsiteX4" fmla="*/ 1189711 w 9414778"/>
              <a:gd name="connsiteY4" fmla="*/ 2075776 h 2075776"/>
              <a:gd name="connsiteX5" fmla="*/ 8822 w 9414778"/>
              <a:gd name="connsiteY5" fmla="*/ 1291673 h 2075776"/>
              <a:gd name="connsiteX6" fmla="*/ 0 w 9414778"/>
              <a:gd name="connsiteY6" fmla="*/ 0 h 2075776"/>
              <a:gd name="connsiteX0" fmla="*/ 0 w 9414778"/>
              <a:gd name="connsiteY0" fmla="*/ 0 h 2075776"/>
              <a:gd name="connsiteX1" fmla="*/ 9404759 w 9414778"/>
              <a:gd name="connsiteY1" fmla="*/ 226134 h 2075776"/>
              <a:gd name="connsiteX2" fmla="*/ 9414778 w 9414778"/>
              <a:gd name="connsiteY2" fmla="*/ 1270711 h 2075776"/>
              <a:gd name="connsiteX3" fmla="*/ 2326380 w 9414778"/>
              <a:gd name="connsiteY3" fmla="*/ 1277120 h 2075776"/>
              <a:gd name="connsiteX4" fmla="*/ 1189711 w 9414778"/>
              <a:gd name="connsiteY4" fmla="*/ 2075776 h 2075776"/>
              <a:gd name="connsiteX5" fmla="*/ 8822 w 9414778"/>
              <a:gd name="connsiteY5" fmla="*/ 1291673 h 2075776"/>
              <a:gd name="connsiteX6" fmla="*/ 0 w 9414778"/>
              <a:gd name="connsiteY6" fmla="*/ 0 h 2075776"/>
              <a:gd name="connsiteX0" fmla="*/ 0 w 9404759"/>
              <a:gd name="connsiteY0" fmla="*/ 0 h 2075776"/>
              <a:gd name="connsiteX1" fmla="*/ 9404759 w 9404759"/>
              <a:gd name="connsiteY1" fmla="*/ 226134 h 2075776"/>
              <a:gd name="connsiteX2" fmla="*/ 9387694 w 9404759"/>
              <a:gd name="connsiteY2" fmla="*/ 1260811 h 2075776"/>
              <a:gd name="connsiteX3" fmla="*/ 2326380 w 9404759"/>
              <a:gd name="connsiteY3" fmla="*/ 1277120 h 2075776"/>
              <a:gd name="connsiteX4" fmla="*/ 1189711 w 9404759"/>
              <a:gd name="connsiteY4" fmla="*/ 2075776 h 2075776"/>
              <a:gd name="connsiteX5" fmla="*/ 8822 w 9404759"/>
              <a:gd name="connsiteY5" fmla="*/ 1291673 h 2075776"/>
              <a:gd name="connsiteX6" fmla="*/ 0 w 9404759"/>
              <a:gd name="connsiteY6" fmla="*/ 0 h 2075776"/>
              <a:gd name="connsiteX0" fmla="*/ 0 w 9404759"/>
              <a:gd name="connsiteY0" fmla="*/ 0 h 2075776"/>
              <a:gd name="connsiteX1" fmla="*/ 9404759 w 9404759"/>
              <a:gd name="connsiteY1" fmla="*/ 226134 h 2075776"/>
              <a:gd name="connsiteX2" fmla="*/ 9396722 w 9404759"/>
              <a:gd name="connsiteY2" fmla="*/ 1260811 h 2075776"/>
              <a:gd name="connsiteX3" fmla="*/ 2326380 w 9404759"/>
              <a:gd name="connsiteY3" fmla="*/ 1277120 h 2075776"/>
              <a:gd name="connsiteX4" fmla="*/ 1189711 w 9404759"/>
              <a:gd name="connsiteY4" fmla="*/ 2075776 h 2075776"/>
              <a:gd name="connsiteX5" fmla="*/ 8822 w 9404759"/>
              <a:gd name="connsiteY5" fmla="*/ 1291673 h 2075776"/>
              <a:gd name="connsiteX6" fmla="*/ 0 w 9404759"/>
              <a:gd name="connsiteY6" fmla="*/ 0 h 2075776"/>
              <a:gd name="connsiteX0" fmla="*/ 206 w 9395937"/>
              <a:gd name="connsiteY0" fmla="*/ 130433 h 1849824"/>
              <a:gd name="connsiteX1" fmla="*/ 9395937 w 9395937"/>
              <a:gd name="connsiteY1" fmla="*/ 182 h 1849824"/>
              <a:gd name="connsiteX2" fmla="*/ 9387900 w 9395937"/>
              <a:gd name="connsiteY2" fmla="*/ 1034859 h 1849824"/>
              <a:gd name="connsiteX3" fmla="*/ 2317558 w 9395937"/>
              <a:gd name="connsiteY3" fmla="*/ 1051168 h 1849824"/>
              <a:gd name="connsiteX4" fmla="*/ 1180889 w 9395937"/>
              <a:gd name="connsiteY4" fmla="*/ 1849824 h 1849824"/>
              <a:gd name="connsiteX5" fmla="*/ 0 w 9395937"/>
              <a:gd name="connsiteY5" fmla="*/ 1065721 h 1849824"/>
              <a:gd name="connsiteX6" fmla="*/ 206 w 9395937"/>
              <a:gd name="connsiteY6" fmla="*/ 130433 h 1849824"/>
              <a:gd name="connsiteX0" fmla="*/ 206 w 9395937"/>
              <a:gd name="connsiteY0" fmla="*/ 1739 h 1849824"/>
              <a:gd name="connsiteX1" fmla="*/ 9395937 w 9395937"/>
              <a:gd name="connsiteY1" fmla="*/ 182 h 1849824"/>
              <a:gd name="connsiteX2" fmla="*/ 9387900 w 9395937"/>
              <a:gd name="connsiteY2" fmla="*/ 1034859 h 1849824"/>
              <a:gd name="connsiteX3" fmla="*/ 2317558 w 9395937"/>
              <a:gd name="connsiteY3" fmla="*/ 1051168 h 1849824"/>
              <a:gd name="connsiteX4" fmla="*/ 1180889 w 9395937"/>
              <a:gd name="connsiteY4" fmla="*/ 1849824 h 1849824"/>
              <a:gd name="connsiteX5" fmla="*/ 0 w 9395937"/>
              <a:gd name="connsiteY5" fmla="*/ 1065721 h 1849824"/>
              <a:gd name="connsiteX6" fmla="*/ 206 w 9395937"/>
              <a:gd name="connsiteY6" fmla="*/ 1739 h 1849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95937" h="1849824">
                <a:moveTo>
                  <a:pt x="206" y="1739"/>
                </a:moveTo>
                <a:lnTo>
                  <a:pt x="9395937" y="182"/>
                </a:lnTo>
                <a:cubicBezTo>
                  <a:pt x="9385194" y="-15723"/>
                  <a:pt x="9369936" y="1021387"/>
                  <a:pt x="9387900" y="1034859"/>
                </a:cubicBezTo>
                <a:lnTo>
                  <a:pt x="2317558" y="1051168"/>
                </a:lnTo>
                <a:cubicBezTo>
                  <a:pt x="1740344" y="1084310"/>
                  <a:pt x="1372498" y="1387002"/>
                  <a:pt x="1180889" y="1849824"/>
                </a:cubicBezTo>
                <a:cubicBezTo>
                  <a:pt x="882535" y="1146047"/>
                  <a:pt x="278640" y="1064843"/>
                  <a:pt x="0" y="1065721"/>
                </a:cubicBezTo>
                <a:cubicBezTo>
                  <a:pt x="2067" y="1030208"/>
                  <a:pt x="1478" y="97321"/>
                  <a:pt x="206" y="1739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>
            <a:defPPr>
              <a:defRPr lang="en-US"/>
            </a:defPPr>
            <a:lvl1pPr marL="0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6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3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00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6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3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9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5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33" algn="l" defTabSz="91433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6591300" cy="604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pic>
        <p:nvPicPr>
          <p:cNvPr id="9" name="Picture 5" descr="D:\shelly\identity\Logo\最新\logo.pn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9600" y="304800"/>
            <a:ext cx="1491508" cy="299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7321556" y="6477000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ct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pyright © Capgemini 201</a:t>
            </a:r>
            <a:r>
              <a:rPr lang="en-US" altLang="zh-CN" sz="700" b="0" i="0" noProof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altLang="en-US" sz="700" b="0" i="0" noProof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1735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35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8" r:id="rId2"/>
    <p:sldLayoutId id="2147483727" r:id="rId3"/>
    <p:sldLayoutId id="2147483724" r:id="rId4"/>
    <p:sldLayoutId id="2147483723" r:id="rId5"/>
    <p:sldLayoutId id="2147483725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5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5523917" y="6379668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© 2013 Capgemini. All rights reserved.</a:t>
            </a: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.cn</a:t>
            </a:r>
          </a:p>
        </p:txBody>
      </p:sp>
      <p:pic>
        <p:nvPicPr>
          <p:cNvPr id="16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5" descr="D:\shelly\identity\Logo\最新\logo.png"/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925" y="861513"/>
            <a:ext cx="3249613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6" descr="D:\shelly\identity\Logo\最新\slogan.png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7659" y="897138"/>
            <a:ext cx="2726633" cy="51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351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lbs.jpg"/>
          <p:cNvPicPr>
            <a:picLocks noChangeAspect="1"/>
          </p:cNvPicPr>
          <p:nvPr/>
        </p:nvPicPr>
        <p:blipFill>
          <a:blip r:embed="rId2" cstate="print"/>
          <a:srcRect t="4000"/>
          <a:stretch>
            <a:fillRect/>
          </a:stretch>
        </p:blipFill>
        <p:spPr>
          <a:xfrm>
            <a:off x="0" y="0"/>
            <a:ext cx="10069417" cy="6858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2743200"/>
            <a:ext cx="10090199" cy="21336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b="1" dirty="0">
                <a:solidFill>
                  <a:schemeClr val="tx2"/>
                </a:solidFill>
              </a:rPr>
              <a:t>Michelin DCP UI/UE Rebuild </a:t>
            </a:r>
            <a:endParaRPr lang="zh-CN" altLang="en-US" sz="4800" b="1" dirty="0">
              <a:solidFill>
                <a:schemeClr val="tx2"/>
              </a:solidFill>
            </a:endParaRPr>
          </a:p>
        </p:txBody>
      </p:sp>
      <p:grpSp>
        <p:nvGrpSpPr>
          <p:cNvPr id="3" name="Group 4"/>
          <p:cNvGrpSpPr/>
          <p:nvPr/>
        </p:nvGrpSpPr>
        <p:grpSpPr>
          <a:xfrm>
            <a:off x="2971800" y="6019800"/>
            <a:ext cx="4127500" cy="533400"/>
            <a:chOff x="3124200" y="6248400"/>
            <a:chExt cx="3810000" cy="533400"/>
          </a:xfrm>
        </p:grpSpPr>
        <p:sp>
          <p:nvSpPr>
            <p:cNvPr id="6" name="Rectangle 5"/>
            <p:cNvSpPr/>
            <p:nvPr/>
          </p:nvSpPr>
          <p:spPr>
            <a:xfrm>
              <a:off x="3124200" y="6248400"/>
              <a:ext cx="3810000" cy="5334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Group 7"/>
            <p:cNvGrpSpPr/>
            <p:nvPr/>
          </p:nvGrpSpPr>
          <p:grpSpPr>
            <a:xfrm>
              <a:off x="4852770" y="6248400"/>
              <a:ext cx="1906284" cy="533400"/>
              <a:chOff x="7138770" y="5486400"/>
              <a:chExt cx="1906284" cy="533400"/>
            </a:xfrm>
          </p:grpSpPr>
          <p:cxnSp>
            <p:nvCxnSpPr>
              <p:cNvPr id="9" name="直接连接符 12"/>
              <p:cNvCxnSpPr/>
              <p:nvPr/>
            </p:nvCxnSpPr>
            <p:spPr bwMode="auto">
              <a:xfrm>
                <a:off x="7138770" y="5541580"/>
                <a:ext cx="0" cy="457200"/>
              </a:xfrm>
              <a:prstGeom prst="line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10" name="Picture 2" descr="C:\Users\leialiu\Desktop\开场\图片开场\凯捷logo-01.png"/>
              <p:cNvPicPr>
                <a:picLocks noChangeAspect="1" noChangeArrowheads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41250" y="5486400"/>
                <a:ext cx="1803804" cy="533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211468" y="6085490"/>
            <a:ext cx="1345325" cy="405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51077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5838315" y="120432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门店清单</a:t>
            </a:r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2839651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077200" y="2724834"/>
            <a:ext cx="174278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显示门店昨日营业额和利润</a:t>
            </a: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7556" y="527864"/>
            <a:ext cx="3515926" cy="6253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105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4704149" y="87868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门店清单</a:t>
            </a:r>
          </a:p>
        </p:txBody>
      </p:sp>
      <p:sp>
        <p:nvSpPr>
          <p:cNvPr id="31" name="等腰三角形 30"/>
          <p:cNvSpPr/>
          <p:nvPr/>
        </p:nvSpPr>
        <p:spPr>
          <a:xfrm rot="5400000">
            <a:off x="3942149" y="2839651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705" y="527865"/>
            <a:ext cx="1534644" cy="2729620"/>
          </a:xfrm>
          <a:prstGeom prst="rect">
            <a:avLst/>
          </a:prstGeom>
        </p:spPr>
      </p:pic>
      <p:sp>
        <p:nvSpPr>
          <p:cNvPr id="20" name="等腰三角形 19"/>
          <p:cNvSpPr/>
          <p:nvPr/>
        </p:nvSpPr>
        <p:spPr>
          <a:xfrm rot="5400000">
            <a:off x="6077646" y="782252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7696200" y="87868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门店报告</a:t>
            </a:r>
          </a:p>
        </p:txBody>
      </p:sp>
      <p:pic>
        <p:nvPicPr>
          <p:cNvPr id="22" name="Picture 7" descr="D:\Users\YAOYJI\Desktop\4.26\门店报告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3213" y="527864"/>
            <a:ext cx="3218470" cy="48962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050587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248400" y="87868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知识问答</a:t>
            </a:r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4363651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519471"/>
            <a:ext cx="3505200" cy="623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4326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248400" y="87868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知识精华</a:t>
            </a:r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4363652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204" y="672939"/>
            <a:ext cx="3352799" cy="596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82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248400" y="87868"/>
            <a:ext cx="111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我的</a:t>
            </a:r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5887651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816" y="819778"/>
            <a:ext cx="3457575" cy="581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654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8400" y="678614"/>
            <a:ext cx="1456455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直接箭头连接符 8"/>
          <p:cNvCxnSpPr>
            <a:stCxn id="4" idx="3"/>
            <a:endCxn id="7" idx="1"/>
          </p:cNvCxnSpPr>
          <p:nvPr/>
        </p:nvCxnSpPr>
        <p:spPr>
          <a:xfrm flipV="1">
            <a:off x="1644135" y="1974014"/>
            <a:ext cx="794265" cy="1018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2978720" y="424698"/>
            <a:ext cx="4539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页</a:t>
            </a:r>
          </a:p>
        </p:txBody>
      </p:sp>
      <p:pic>
        <p:nvPicPr>
          <p:cNvPr id="12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38400" y="3904330"/>
            <a:ext cx="1456455" cy="264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文本框 12"/>
          <p:cNvSpPr txBox="1"/>
          <p:nvPr/>
        </p:nvSpPr>
        <p:spPr>
          <a:xfrm>
            <a:off x="2939642" y="3650414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页</a:t>
            </a:r>
          </a:p>
        </p:txBody>
      </p:sp>
      <p:cxnSp>
        <p:nvCxnSpPr>
          <p:cNvPr id="14" name="直接箭头连接符 13"/>
          <p:cNvCxnSpPr>
            <a:stCxn id="4" idx="3"/>
            <a:endCxn id="12" idx="1"/>
          </p:cNvCxnSpPr>
          <p:nvPr/>
        </p:nvCxnSpPr>
        <p:spPr>
          <a:xfrm>
            <a:off x="1644135" y="2992396"/>
            <a:ext cx="794265" cy="2236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0" name="矩形 19"/>
          <p:cNvSpPr/>
          <p:nvPr/>
        </p:nvSpPr>
        <p:spPr>
          <a:xfrm>
            <a:off x="51816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级菜单</a:t>
            </a:r>
          </a:p>
        </p:txBody>
      </p:sp>
      <p:sp>
        <p:nvSpPr>
          <p:cNvPr id="21" name="矩形 20"/>
          <p:cNvSpPr/>
          <p:nvPr/>
        </p:nvSpPr>
        <p:spPr>
          <a:xfrm>
            <a:off x="79248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级菜单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24400" y="853755"/>
            <a:ext cx="2147340" cy="852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框 22"/>
          <p:cNvSpPr txBox="1"/>
          <p:nvPr/>
        </p:nvSpPr>
        <p:spPr>
          <a:xfrm>
            <a:off x="5488195" y="669089"/>
            <a:ext cx="45878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箭头连接符 23"/>
          <p:cNvCxnSpPr>
            <a:stCxn id="7" idx="3"/>
            <a:endCxn id="22" idx="1"/>
          </p:cNvCxnSpPr>
          <p:nvPr/>
        </p:nvCxnSpPr>
        <p:spPr>
          <a:xfrm flipV="1">
            <a:off x="3894855" y="1280201"/>
            <a:ext cx="829545" cy="69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4" descr="D:\Users\YAOYJI\Desktop\4.26\待办事宜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74170" y="2112727"/>
            <a:ext cx="1447800" cy="2057400"/>
          </a:xfrm>
          <a:prstGeom prst="rect">
            <a:avLst/>
          </a:prstGeom>
          <a:noFill/>
        </p:spPr>
      </p:pic>
      <p:pic>
        <p:nvPicPr>
          <p:cNvPr id="28" name="Picture 5" descr="D:\Users\YAOYJI\Desktop\4.26\新闻公告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74170" y="4414838"/>
            <a:ext cx="1447800" cy="2443162"/>
          </a:xfrm>
          <a:prstGeom prst="rect">
            <a:avLst/>
          </a:prstGeom>
          <a:noFill/>
        </p:spPr>
      </p:pic>
      <p:cxnSp>
        <p:nvCxnSpPr>
          <p:cNvPr id="29" name="直接箭头连接符 28"/>
          <p:cNvCxnSpPr>
            <a:stCxn id="7" idx="3"/>
            <a:endCxn id="27" idx="1"/>
          </p:cNvCxnSpPr>
          <p:nvPr/>
        </p:nvCxnSpPr>
        <p:spPr>
          <a:xfrm>
            <a:off x="3894855" y="1974014"/>
            <a:ext cx="1179315" cy="1167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>
            <a:stCxn id="7" idx="3"/>
            <a:endCxn id="28" idx="1"/>
          </p:cNvCxnSpPr>
          <p:nvPr/>
        </p:nvCxnSpPr>
        <p:spPr>
          <a:xfrm>
            <a:off x="3894855" y="1974014"/>
            <a:ext cx="1179315" cy="36624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5410200" y="1849286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5448925" y="4208894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794382"/>
            <a:ext cx="948589" cy="1686381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799" y="2907209"/>
            <a:ext cx="948589" cy="1686381"/>
          </a:xfrm>
          <a:prstGeom prst="rect">
            <a:avLst/>
          </a:prstGeom>
        </p:spPr>
      </p:pic>
      <p:cxnSp>
        <p:nvCxnSpPr>
          <p:cNvPr id="41" name="直接箭头连接符 40"/>
          <p:cNvCxnSpPr>
            <a:stCxn id="22" idx="3"/>
            <a:endCxn id="39" idx="1"/>
          </p:cNvCxnSpPr>
          <p:nvPr/>
        </p:nvCxnSpPr>
        <p:spPr>
          <a:xfrm>
            <a:off x="6871740" y="1280201"/>
            <a:ext cx="1053060" cy="357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/>
          <p:cNvCxnSpPr>
            <a:stCxn id="22" idx="3"/>
            <a:endCxn id="40" idx="1"/>
          </p:cNvCxnSpPr>
          <p:nvPr/>
        </p:nvCxnSpPr>
        <p:spPr>
          <a:xfrm>
            <a:off x="6871740" y="1280201"/>
            <a:ext cx="1053059" cy="2470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文本框 47"/>
          <p:cNvSpPr txBox="1"/>
          <p:nvPr/>
        </p:nvSpPr>
        <p:spPr>
          <a:xfrm>
            <a:off x="8019842" y="564988"/>
            <a:ext cx="8210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learning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8039725" y="2653293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辆保养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3879960" y="5044099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信息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照片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员工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报告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3839195" y="681004"/>
            <a:ext cx="81945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</a:p>
        </p:txBody>
      </p:sp>
      <p:sp>
        <p:nvSpPr>
          <p:cNvPr id="52" name="Sun 11"/>
          <p:cNvSpPr/>
          <p:nvPr/>
        </p:nvSpPr>
        <p:spPr>
          <a:xfrm>
            <a:off x="6915775" y="4894439"/>
            <a:ext cx="290747" cy="299319"/>
          </a:xfrm>
          <a:prstGeom prst="su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7206522" y="5020036"/>
            <a:ext cx="208903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级功能区隔不清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逻辑不清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操作性不够友好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风格不统一</a:t>
            </a:r>
          </a:p>
        </p:txBody>
      </p:sp>
    </p:spTree>
    <p:extLst>
      <p:ext uri="{BB962C8B-B14F-4D97-AF65-F5344CB8AC3E}">
        <p14:creationId xmlns:p14="http://schemas.microsoft.com/office/powerpoint/2010/main" val="1700581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8400" y="678614"/>
            <a:ext cx="1456455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直接箭头连接符 8"/>
          <p:cNvCxnSpPr>
            <a:stCxn id="4" idx="3"/>
            <a:endCxn id="7" idx="1"/>
          </p:cNvCxnSpPr>
          <p:nvPr/>
        </p:nvCxnSpPr>
        <p:spPr>
          <a:xfrm flipV="1">
            <a:off x="1644135" y="1974014"/>
            <a:ext cx="794265" cy="1018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2978720" y="424698"/>
            <a:ext cx="4539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页</a:t>
            </a:r>
          </a:p>
        </p:txBody>
      </p:sp>
      <p:pic>
        <p:nvPicPr>
          <p:cNvPr id="12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38400" y="3904330"/>
            <a:ext cx="1456455" cy="264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文本框 12"/>
          <p:cNvSpPr txBox="1"/>
          <p:nvPr/>
        </p:nvSpPr>
        <p:spPr>
          <a:xfrm>
            <a:off x="2939642" y="3650414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页</a:t>
            </a:r>
          </a:p>
        </p:txBody>
      </p:sp>
      <p:cxnSp>
        <p:nvCxnSpPr>
          <p:cNvPr id="14" name="直接箭头连接符 13"/>
          <p:cNvCxnSpPr>
            <a:stCxn id="4" idx="3"/>
            <a:endCxn id="12" idx="1"/>
          </p:cNvCxnSpPr>
          <p:nvPr/>
        </p:nvCxnSpPr>
        <p:spPr>
          <a:xfrm>
            <a:off x="1644135" y="2992396"/>
            <a:ext cx="794265" cy="2236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0" name="矩形 19"/>
          <p:cNvSpPr/>
          <p:nvPr/>
        </p:nvSpPr>
        <p:spPr>
          <a:xfrm>
            <a:off x="51816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级菜单</a:t>
            </a:r>
          </a:p>
        </p:txBody>
      </p:sp>
      <p:sp>
        <p:nvSpPr>
          <p:cNvPr id="21" name="矩形 20"/>
          <p:cNvSpPr/>
          <p:nvPr/>
        </p:nvSpPr>
        <p:spPr>
          <a:xfrm>
            <a:off x="79248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级菜单</a:t>
            </a:r>
          </a:p>
        </p:txBody>
      </p:sp>
      <p:cxnSp>
        <p:nvCxnSpPr>
          <p:cNvPr id="24" name="直接箭头连接符 23"/>
          <p:cNvCxnSpPr>
            <a:stCxn id="12" idx="3"/>
            <a:endCxn id="2" idx="1"/>
          </p:cNvCxnSpPr>
          <p:nvPr/>
        </p:nvCxnSpPr>
        <p:spPr>
          <a:xfrm flipV="1">
            <a:off x="3894855" y="1706647"/>
            <a:ext cx="1194210" cy="3522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>
            <a:stCxn id="12" idx="3"/>
            <a:endCxn id="34" idx="1"/>
          </p:cNvCxnSpPr>
          <p:nvPr/>
        </p:nvCxnSpPr>
        <p:spPr>
          <a:xfrm flipV="1">
            <a:off x="3894855" y="3687252"/>
            <a:ext cx="1194210" cy="15415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>
            <a:stCxn id="12" idx="3"/>
            <a:endCxn id="35" idx="1"/>
          </p:cNvCxnSpPr>
          <p:nvPr/>
        </p:nvCxnSpPr>
        <p:spPr>
          <a:xfrm>
            <a:off x="3894855" y="5228765"/>
            <a:ext cx="1199050" cy="501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/>
          <p:cNvSpPr txBox="1"/>
          <p:nvPr/>
        </p:nvSpPr>
        <p:spPr>
          <a:xfrm>
            <a:off x="3894855" y="5463585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信息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照片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员工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报告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3839195" y="681004"/>
            <a:ext cx="81945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</a:p>
        </p:txBody>
      </p:sp>
      <p:pic>
        <p:nvPicPr>
          <p:cNvPr id="34" name="Picture 6" descr="D:\Users\YAOYJI\Desktop\4.26\门店员工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89065" y="2888413"/>
            <a:ext cx="1118374" cy="1597677"/>
          </a:xfrm>
          <a:prstGeom prst="rect">
            <a:avLst/>
          </a:prstGeom>
          <a:noFill/>
        </p:spPr>
      </p:pic>
      <p:pic>
        <p:nvPicPr>
          <p:cNvPr id="35" name="Picture 7" descr="D:\Users\YAOYJI\Desktop\4.26\门店报告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93905" y="4901293"/>
            <a:ext cx="1184748" cy="1656982"/>
          </a:xfrm>
          <a:prstGeom prst="rect">
            <a:avLst/>
          </a:prstGeom>
          <a:noFill/>
        </p:spPr>
      </p:pic>
      <p:pic>
        <p:nvPicPr>
          <p:cNvPr id="36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39075" y="4534068"/>
            <a:ext cx="1143000" cy="203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065" y="712040"/>
            <a:ext cx="1118374" cy="1989213"/>
          </a:xfrm>
          <a:prstGeom prst="rect">
            <a:avLst/>
          </a:prstGeom>
        </p:spPr>
      </p:pic>
      <p:sp>
        <p:nvSpPr>
          <p:cNvPr id="54" name="文本框 53"/>
          <p:cNvSpPr txBox="1"/>
          <p:nvPr/>
        </p:nvSpPr>
        <p:spPr>
          <a:xfrm>
            <a:off x="5338965" y="447663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照片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5324641" y="2657240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员工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5335625" y="4614656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报告</a:t>
            </a:r>
          </a:p>
        </p:txBody>
      </p:sp>
      <p:cxnSp>
        <p:nvCxnSpPr>
          <p:cNvPr id="57" name="直接箭头连接符 56"/>
          <p:cNvCxnSpPr>
            <a:stCxn id="35" idx="3"/>
            <a:endCxn id="36" idx="1"/>
          </p:cNvCxnSpPr>
          <p:nvPr/>
        </p:nvCxnSpPr>
        <p:spPr>
          <a:xfrm flipV="1">
            <a:off x="6278653" y="5550675"/>
            <a:ext cx="1560422" cy="179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文本框 57"/>
          <p:cNvSpPr txBox="1"/>
          <p:nvPr/>
        </p:nvSpPr>
        <p:spPr>
          <a:xfrm>
            <a:off x="8229600" y="4274657"/>
            <a:ext cx="40267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SI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87415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52400"/>
            <a:ext cx="8305800" cy="622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24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28605" y="1157874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线学习</a:t>
            </a:r>
          </a:p>
        </p:txBody>
      </p:sp>
      <p:sp>
        <p:nvSpPr>
          <p:cNvPr id="6" name="矩形 5"/>
          <p:cNvSpPr/>
          <p:nvPr/>
        </p:nvSpPr>
        <p:spPr>
          <a:xfrm>
            <a:off x="228600" y="3094553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研</a:t>
            </a:r>
          </a:p>
        </p:txBody>
      </p:sp>
      <p:sp>
        <p:nvSpPr>
          <p:cNvPr id="7" name="矩形 6"/>
          <p:cNvSpPr/>
          <p:nvPr/>
        </p:nvSpPr>
        <p:spPr>
          <a:xfrm>
            <a:off x="228600" y="1803432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</a:p>
        </p:txBody>
      </p:sp>
      <p:sp>
        <p:nvSpPr>
          <p:cNvPr id="8" name="矩形 7"/>
          <p:cNvSpPr/>
          <p:nvPr/>
        </p:nvSpPr>
        <p:spPr>
          <a:xfrm>
            <a:off x="228600" y="2448992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告</a:t>
            </a:r>
          </a:p>
        </p:txBody>
      </p:sp>
      <p:sp>
        <p:nvSpPr>
          <p:cNvPr id="9" name="矩形 8"/>
          <p:cNvSpPr/>
          <p:nvPr/>
        </p:nvSpPr>
        <p:spPr>
          <a:xfrm>
            <a:off x="228601" y="3740114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otion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28601" y="4385674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28600" y="5031234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BS-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问</a:t>
            </a:r>
          </a:p>
        </p:txBody>
      </p:sp>
      <p:sp>
        <p:nvSpPr>
          <p:cNvPr id="12" name="矩形 11"/>
          <p:cNvSpPr/>
          <p:nvPr/>
        </p:nvSpPr>
        <p:spPr>
          <a:xfrm>
            <a:off x="2604504" y="115787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辆保养</a:t>
            </a:r>
          </a:p>
        </p:txBody>
      </p:sp>
      <p:sp>
        <p:nvSpPr>
          <p:cNvPr id="13" name="矩形 12"/>
          <p:cNvSpPr/>
          <p:nvPr/>
        </p:nvSpPr>
        <p:spPr>
          <a:xfrm>
            <a:off x="2604503" y="180343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驰加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介绍</a:t>
            </a:r>
          </a:p>
        </p:txBody>
      </p:sp>
      <p:sp>
        <p:nvSpPr>
          <p:cNvPr id="14" name="矩形 13"/>
          <p:cNvSpPr/>
          <p:nvPr/>
        </p:nvSpPr>
        <p:spPr>
          <a:xfrm>
            <a:off x="2604503" y="309455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ice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604502" y="374011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OP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2599478" y="244899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零件查询</a:t>
            </a:r>
          </a:p>
        </p:txBody>
      </p:sp>
      <p:sp>
        <p:nvSpPr>
          <p:cNvPr id="17" name="矩形 16"/>
          <p:cNvSpPr/>
          <p:nvPr/>
        </p:nvSpPr>
        <p:spPr>
          <a:xfrm>
            <a:off x="5036054" y="1157874"/>
            <a:ext cx="1191803" cy="46233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报</a:t>
            </a:r>
          </a:p>
        </p:txBody>
      </p:sp>
      <p:sp>
        <p:nvSpPr>
          <p:cNvPr id="18" name="矩形 17"/>
          <p:cNvSpPr/>
          <p:nvPr/>
        </p:nvSpPr>
        <p:spPr>
          <a:xfrm>
            <a:off x="5036053" y="1803434"/>
            <a:ext cx="1191803" cy="46233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SI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036054" y="2448994"/>
            <a:ext cx="1191803" cy="46233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流分析</a:t>
            </a:r>
          </a:p>
        </p:txBody>
      </p:sp>
      <p:sp>
        <p:nvSpPr>
          <p:cNvPr id="20" name="矩形 19"/>
          <p:cNvSpPr/>
          <p:nvPr/>
        </p:nvSpPr>
        <p:spPr>
          <a:xfrm>
            <a:off x="5036053" y="3094554"/>
            <a:ext cx="1191803" cy="46233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QIS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315204" y="1157874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人设置</a:t>
            </a:r>
          </a:p>
        </p:txBody>
      </p:sp>
      <p:sp>
        <p:nvSpPr>
          <p:cNvPr id="22" name="矩形 21"/>
          <p:cNvSpPr/>
          <p:nvPr/>
        </p:nvSpPr>
        <p:spPr>
          <a:xfrm>
            <a:off x="7315203" y="1803434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信息</a:t>
            </a:r>
          </a:p>
        </p:txBody>
      </p:sp>
      <p:sp>
        <p:nvSpPr>
          <p:cNvPr id="23" name="矩形 22"/>
          <p:cNvSpPr/>
          <p:nvPr/>
        </p:nvSpPr>
        <p:spPr>
          <a:xfrm>
            <a:off x="7315204" y="2448994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员工</a:t>
            </a:r>
          </a:p>
        </p:txBody>
      </p:sp>
      <p:sp>
        <p:nvSpPr>
          <p:cNvPr id="24" name="矩形 23"/>
          <p:cNvSpPr/>
          <p:nvPr/>
        </p:nvSpPr>
        <p:spPr>
          <a:xfrm>
            <a:off x="7315203" y="3094554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门店照片</a:t>
            </a:r>
          </a:p>
        </p:txBody>
      </p:sp>
      <p:sp>
        <p:nvSpPr>
          <p:cNvPr id="25" name="矩形 24"/>
          <p:cNvSpPr/>
          <p:nvPr/>
        </p:nvSpPr>
        <p:spPr>
          <a:xfrm>
            <a:off x="7315203" y="3740114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的收藏</a:t>
            </a:r>
          </a:p>
        </p:txBody>
      </p:sp>
      <p:sp>
        <p:nvSpPr>
          <p:cNvPr id="26" name="矩形 25"/>
          <p:cNvSpPr/>
          <p:nvPr/>
        </p:nvSpPr>
        <p:spPr>
          <a:xfrm>
            <a:off x="7315202" y="4397662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的关注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7587937" y="69093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的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5308788" y="69093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2604503" y="685800"/>
            <a:ext cx="12073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知识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具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501337" y="6858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互动</a:t>
            </a:r>
          </a:p>
        </p:txBody>
      </p:sp>
      <p:sp>
        <p:nvSpPr>
          <p:cNvPr id="31" name="矩形 30"/>
          <p:cNvSpPr/>
          <p:nvPr/>
        </p:nvSpPr>
        <p:spPr>
          <a:xfrm>
            <a:off x="228600" y="5676794"/>
            <a:ext cx="1191803" cy="4623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BS-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答</a:t>
            </a:r>
          </a:p>
        </p:txBody>
      </p:sp>
      <p:sp>
        <p:nvSpPr>
          <p:cNvPr id="32" name="矩形 31"/>
          <p:cNvSpPr/>
          <p:nvPr/>
        </p:nvSpPr>
        <p:spPr>
          <a:xfrm>
            <a:off x="7315200" y="5055210"/>
            <a:ext cx="1191803" cy="462337"/>
          </a:xfrm>
          <a:prstGeom prst="rect">
            <a:avLst/>
          </a:prstGeom>
          <a:solidFill>
            <a:schemeClr val="accent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积分奖励</a:t>
            </a:r>
          </a:p>
        </p:txBody>
      </p:sp>
      <p:sp>
        <p:nvSpPr>
          <p:cNvPr id="33" name="矩形 32"/>
          <p:cNvSpPr/>
          <p:nvPr/>
        </p:nvSpPr>
        <p:spPr>
          <a:xfrm>
            <a:off x="2604503" y="438567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BS-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热门问题</a:t>
            </a:r>
          </a:p>
        </p:txBody>
      </p:sp>
      <p:sp>
        <p:nvSpPr>
          <p:cNvPr id="34" name="矩形 33"/>
          <p:cNvSpPr/>
          <p:nvPr/>
        </p:nvSpPr>
        <p:spPr>
          <a:xfrm>
            <a:off x="2604503" y="5031234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BS-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报</a:t>
            </a:r>
          </a:p>
        </p:txBody>
      </p:sp>
      <p:sp>
        <p:nvSpPr>
          <p:cNvPr id="35" name="矩形 34"/>
          <p:cNvSpPr/>
          <p:nvPr/>
        </p:nvSpPr>
        <p:spPr>
          <a:xfrm>
            <a:off x="2604502" y="5676793"/>
            <a:ext cx="1191803" cy="462337"/>
          </a:xfrm>
          <a:prstGeom prst="rect">
            <a:avLst/>
          </a:prstGeom>
          <a:solidFill>
            <a:schemeClr val="accent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BS-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大全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1394814" y="1159629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月</a:t>
            </a:r>
            <a:endParaRPr lang="en-US" altLang="zh-CN" sz="1050" b="1" dirty="0"/>
          </a:p>
          <a:p>
            <a:r>
              <a:rPr lang="zh-CN" altLang="en-US" sz="1050" b="1" dirty="0"/>
              <a:t>重要性：高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42" name="TextBox 10"/>
          <p:cNvSpPr txBox="1"/>
          <p:nvPr/>
        </p:nvSpPr>
        <p:spPr>
          <a:xfrm>
            <a:off x="0" y="183177"/>
            <a:ext cx="9906000" cy="523214"/>
          </a:xfrm>
          <a:prstGeom prst="rect">
            <a:avLst/>
          </a:prstGeom>
          <a:noFill/>
          <a:effectLst/>
        </p:spPr>
        <p:txBody>
          <a:bodyPr wrap="square" lIns="91433" tIns="45717" rIns="91433" bIns="45717" rtlCol="0" anchor="ctr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微软雅黑" pitchFamily="34" charset="-122"/>
                <a:cs typeface="Arial" panose="020B0604020202020204" pitchFamily="34" charset="0"/>
              </a:rPr>
              <a:t>DCP Mobile Overall Functions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385311" y="1810658"/>
            <a:ext cx="118494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周</a:t>
            </a:r>
            <a:r>
              <a:rPr lang="en-US" altLang="zh-CN" sz="1050" b="1" dirty="0"/>
              <a:t>/</a:t>
            </a:r>
            <a:r>
              <a:rPr lang="zh-CN" altLang="en-US" sz="1050" b="1" dirty="0"/>
              <a:t>日</a:t>
            </a:r>
            <a:endParaRPr lang="en-US" altLang="zh-CN" sz="1050" b="1" dirty="0"/>
          </a:p>
          <a:p>
            <a:r>
              <a:rPr lang="zh-CN" altLang="en-US" sz="1050" b="1" dirty="0"/>
              <a:t>重要性：极高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44" name="文本框 43"/>
          <p:cNvSpPr txBox="1"/>
          <p:nvPr/>
        </p:nvSpPr>
        <p:spPr>
          <a:xfrm>
            <a:off x="1404317" y="2454291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日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45" name="文本框 44"/>
          <p:cNvSpPr txBox="1"/>
          <p:nvPr/>
        </p:nvSpPr>
        <p:spPr>
          <a:xfrm>
            <a:off x="1394814" y="3105320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周</a:t>
            </a:r>
            <a:endParaRPr lang="en-US" altLang="zh-CN" sz="1050" b="1" dirty="0"/>
          </a:p>
          <a:p>
            <a:r>
              <a:rPr lang="zh-CN" altLang="en-US" sz="1050" b="1" dirty="0"/>
              <a:t>重要性：极高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46" name="文本框 45"/>
          <p:cNvSpPr txBox="1"/>
          <p:nvPr/>
        </p:nvSpPr>
        <p:spPr>
          <a:xfrm>
            <a:off x="1413820" y="3755330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极高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1404317" y="4406359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极高</a:t>
            </a:r>
          </a:p>
        </p:txBody>
      </p:sp>
      <p:sp>
        <p:nvSpPr>
          <p:cNvPr id="48" name="文本框 47"/>
          <p:cNvSpPr txBox="1"/>
          <p:nvPr/>
        </p:nvSpPr>
        <p:spPr>
          <a:xfrm>
            <a:off x="1413820" y="5039901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49" name="文本框 48"/>
          <p:cNvSpPr txBox="1"/>
          <p:nvPr/>
        </p:nvSpPr>
        <p:spPr>
          <a:xfrm>
            <a:off x="1404317" y="5690930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51" name="直角三角形 50"/>
          <p:cNvSpPr/>
          <p:nvPr/>
        </p:nvSpPr>
        <p:spPr>
          <a:xfrm rot="10800000">
            <a:off x="1268003" y="1154741"/>
            <a:ext cx="152400" cy="170542"/>
          </a:xfrm>
          <a:prstGeom prst="rtTriangle">
            <a:avLst/>
          </a:prstGeom>
          <a:solidFill>
            <a:srgbClr val="C00000"/>
          </a:solidFill>
          <a:ln w="31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2" name="直角三角形 51"/>
          <p:cNvSpPr/>
          <p:nvPr/>
        </p:nvSpPr>
        <p:spPr>
          <a:xfrm rot="10800000">
            <a:off x="1268003" y="3748507"/>
            <a:ext cx="152400" cy="170542"/>
          </a:xfrm>
          <a:prstGeom prst="rtTriangle">
            <a:avLst/>
          </a:prstGeom>
          <a:solidFill>
            <a:srgbClr val="C00000"/>
          </a:solidFill>
          <a:ln w="31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3" name="直角三角形 52"/>
          <p:cNvSpPr/>
          <p:nvPr/>
        </p:nvSpPr>
        <p:spPr>
          <a:xfrm rot="10800000">
            <a:off x="1261420" y="4396370"/>
            <a:ext cx="152400" cy="170542"/>
          </a:xfrm>
          <a:prstGeom prst="rtTriangle">
            <a:avLst/>
          </a:prstGeom>
          <a:solidFill>
            <a:srgbClr val="C00000"/>
          </a:solidFill>
          <a:ln w="31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4" name="直角三角形 53"/>
          <p:cNvSpPr/>
          <p:nvPr/>
        </p:nvSpPr>
        <p:spPr>
          <a:xfrm rot="10800000">
            <a:off x="3638880" y="3105320"/>
            <a:ext cx="152400" cy="170542"/>
          </a:xfrm>
          <a:prstGeom prst="rtTriangle">
            <a:avLst/>
          </a:prstGeom>
          <a:solidFill>
            <a:srgbClr val="C00000"/>
          </a:solidFill>
          <a:ln w="31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5" name="直角三角形 54"/>
          <p:cNvSpPr/>
          <p:nvPr/>
        </p:nvSpPr>
        <p:spPr>
          <a:xfrm rot="10800000">
            <a:off x="3638880" y="1165413"/>
            <a:ext cx="152400" cy="170542"/>
          </a:xfrm>
          <a:prstGeom prst="rtTriangle">
            <a:avLst/>
          </a:prstGeom>
          <a:solidFill>
            <a:srgbClr val="C00000"/>
          </a:solidFill>
          <a:ln w="31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3843062" y="1178679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65" name="文本框 64"/>
          <p:cNvSpPr txBox="1"/>
          <p:nvPr/>
        </p:nvSpPr>
        <p:spPr>
          <a:xfrm>
            <a:off x="3833559" y="1829708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月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66" name="文本框 65"/>
          <p:cNvSpPr txBox="1"/>
          <p:nvPr/>
        </p:nvSpPr>
        <p:spPr>
          <a:xfrm>
            <a:off x="3852565" y="2473341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3843062" y="3124370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68" name="文本框 67"/>
          <p:cNvSpPr txBox="1"/>
          <p:nvPr/>
        </p:nvSpPr>
        <p:spPr>
          <a:xfrm>
            <a:off x="3862068" y="3774380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69" name="文本框 68"/>
          <p:cNvSpPr txBox="1"/>
          <p:nvPr/>
        </p:nvSpPr>
        <p:spPr>
          <a:xfrm>
            <a:off x="3852565" y="4425409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70" name="文本框 69"/>
          <p:cNvSpPr txBox="1"/>
          <p:nvPr/>
        </p:nvSpPr>
        <p:spPr>
          <a:xfrm>
            <a:off x="3862068" y="5058951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日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3852565" y="5709980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72" name="文本框 71"/>
          <p:cNvSpPr txBox="1"/>
          <p:nvPr/>
        </p:nvSpPr>
        <p:spPr>
          <a:xfrm>
            <a:off x="6257903" y="1167280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日</a:t>
            </a:r>
            <a:endParaRPr lang="en-US" altLang="zh-CN" sz="1050" b="1" dirty="0"/>
          </a:p>
          <a:p>
            <a:r>
              <a:rPr lang="zh-CN" altLang="en-US" sz="1050" b="1" dirty="0"/>
              <a:t>重要性：极高</a:t>
            </a:r>
          </a:p>
        </p:txBody>
      </p:sp>
      <p:sp>
        <p:nvSpPr>
          <p:cNvPr id="73" name="文本框 72"/>
          <p:cNvSpPr txBox="1"/>
          <p:nvPr/>
        </p:nvSpPr>
        <p:spPr>
          <a:xfrm>
            <a:off x="6248400" y="1818309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日</a:t>
            </a:r>
            <a:endParaRPr lang="en-US" altLang="zh-CN" sz="1050" b="1" dirty="0"/>
          </a:p>
          <a:p>
            <a:r>
              <a:rPr lang="zh-CN" altLang="en-US" sz="1050" b="1" dirty="0"/>
              <a:t>重要性：高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74" name="文本框 73"/>
          <p:cNvSpPr txBox="1"/>
          <p:nvPr/>
        </p:nvSpPr>
        <p:spPr>
          <a:xfrm>
            <a:off x="6267406" y="2461942"/>
            <a:ext cx="9925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月</a:t>
            </a:r>
            <a:endParaRPr lang="en-US" altLang="zh-CN" sz="1050" b="1" dirty="0"/>
          </a:p>
          <a:p>
            <a:r>
              <a:rPr lang="zh-CN" altLang="en-US" sz="1050" b="1" dirty="0"/>
              <a:t>重要性：高</a:t>
            </a:r>
          </a:p>
        </p:txBody>
      </p:sp>
      <p:sp>
        <p:nvSpPr>
          <p:cNvPr id="75" name="文本框 74"/>
          <p:cNvSpPr txBox="1"/>
          <p:nvPr/>
        </p:nvSpPr>
        <p:spPr>
          <a:xfrm>
            <a:off x="6257903" y="3112971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季</a:t>
            </a:r>
            <a:endParaRPr lang="en-US" altLang="zh-CN" sz="1050" b="1" dirty="0"/>
          </a:p>
          <a:p>
            <a:r>
              <a:rPr lang="zh-CN" altLang="en-US" sz="1050" b="1" dirty="0"/>
              <a:t>重要性：高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8648037" y="1150962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不定期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77" name="文本框 76"/>
          <p:cNvSpPr txBox="1"/>
          <p:nvPr/>
        </p:nvSpPr>
        <p:spPr>
          <a:xfrm>
            <a:off x="8638534" y="1801991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不定期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  <a:r>
              <a:rPr lang="en-US" altLang="zh-CN" sz="1050" b="1" dirty="0"/>
              <a:t> </a:t>
            </a:r>
            <a:endParaRPr lang="zh-CN" altLang="en-US" sz="1050" b="1" dirty="0"/>
          </a:p>
        </p:txBody>
      </p:sp>
      <p:sp>
        <p:nvSpPr>
          <p:cNvPr id="78" name="文本框 77"/>
          <p:cNvSpPr txBox="1"/>
          <p:nvPr/>
        </p:nvSpPr>
        <p:spPr>
          <a:xfrm>
            <a:off x="8657540" y="2445624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不定期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79" name="文本框 78"/>
          <p:cNvSpPr txBox="1"/>
          <p:nvPr/>
        </p:nvSpPr>
        <p:spPr>
          <a:xfrm>
            <a:off x="8648037" y="3096653"/>
            <a:ext cx="1261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不定期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80" name="文本框 79"/>
          <p:cNvSpPr txBox="1"/>
          <p:nvPr/>
        </p:nvSpPr>
        <p:spPr>
          <a:xfrm>
            <a:off x="8667043" y="3746663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81" name="文本框 80"/>
          <p:cNvSpPr txBox="1"/>
          <p:nvPr/>
        </p:nvSpPr>
        <p:spPr>
          <a:xfrm>
            <a:off x="8657540" y="4397692"/>
            <a:ext cx="112723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实时</a:t>
            </a:r>
            <a:endParaRPr lang="en-US" altLang="zh-CN" sz="1050" b="1" dirty="0"/>
          </a:p>
          <a:p>
            <a:r>
              <a:rPr lang="zh-CN" altLang="en-US" sz="1050" b="1" dirty="0"/>
              <a:t>重要性：中</a:t>
            </a:r>
          </a:p>
        </p:txBody>
      </p:sp>
      <p:sp>
        <p:nvSpPr>
          <p:cNvPr id="82" name="文本框 81"/>
          <p:cNvSpPr txBox="1"/>
          <p:nvPr/>
        </p:nvSpPr>
        <p:spPr>
          <a:xfrm>
            <a:off x="8667043" y="5031234"/>
            <a:ext cx="10230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/>
              <a:t>更新频率：日</a:t>
            </a:r>
            <a:endParaRPr lang="en-US" altLang="zh-CN" sz="1050" b="1" dirty="0"/>
          </a:p>
          <a:p>
            <a:r>
              <a:rPr lang="zh-CN" altLang="en-US" sz="1050" b="1" dirty="0"/>
              <a:t>重要性：高</a:t>
            </a:r>
          </a:p>
        </p:txBody>
      </p:sp>
    </p:spTree>
    <p:extLst>
      <p:ext uri="{BB962C8B-B14F-4D97-AF65-F5344CB8AC3E}">
        <p14:creationId xmlns:p14="http://schemas.microsoft.com/office/powerpoint/2010/main" val="192652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图片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980" y="457200"/>
            <a:ext cx="3497820" cy="6221456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6172200" y="87868"/>
            <a:ext cx="1068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Option 1 </a:t>
            </a:r>
            <a:endParaRPr lang="zh-CN" altLang="en-US" b="1" dirty="0"/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1371600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458200" y="3018922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urvey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458199" y="4648200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核心常用功能，可以进行拖拽</a:t>
            </a:r>
          </a:p>
        </p:txBody>
      </p:sp>
    </p:spTree>
    <p:extLst>
      <p:ext uri="{BB962C8B-B14F-4D97-AF65-F5344CB8AC3E}">
        <p14:creationId xmlns:p14="http://schemas.microsoft.com/office/powerpoint/2010/main" val="3729369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172200" y="87868"/>
            <a:ext cx="1068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Option 2 </a:t>
            </a:r>
            <a:endParaRPr lang="zh-CN" altLang="en-US" b="1" dirty="0"/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1371600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458200" y="3018922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urvey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458199" y="4648200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核心常用功能，可以进行拖拽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678" y="609600"/>
            <a:ext cx="3359904" cy="597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179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172200" y="87868"/>
            <a:ext cx="1068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Option 3 </a:t>
            </a:r>
            <a:endParaRPr lang="zh-CN" altLang="en-US" b="1" dirty="0"/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1371600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458200" y="3018922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urvey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458199" y="4648200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核心常用功能，可以进行拖拽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678" y="609600"/>
            <a:ext cx="3359904" cy="59761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215" y="609600"/>
            <a:ext cx="3354368" cy="596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730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2118" y="1974014"/>
            <a:ext cx="1402017" cy="203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本框 4"/>
          <p:cNvSpPr txBox="1"/>
          <p:nvPr/>
        </p:nvSpPr>
        <p:spPr>
          <a:xfrm>
            <a:off x="519879" y="4093478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置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48813" y="1706647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cxnSp>
        <p:nvCxnSpPr>
          <p:cNvPr id="9" name="直接箭头连接符 8"/>
          <p:cNvCxnSpPr>
            <a:stCxn id="4" idx="3"/>
            <a:endCxn id="2" idx="1"/>
          </p:cNvCxnSpPr>
          <p:nvPr/>
        </p:nvCxnSpPr>
        <p:spPr>
          <a:xfrm flipV="1">
            <a:off x="1644135" y="1483498"/>
            <a:ext cx="979958" cy="150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4" idx="3"/>
            <a:endCxn id="42" idx="1"/>
          </p:cNvCxnSpPr>
          <p:nvPr/>
        </p:nvCxnSpPr>
        <p:spPr>
          <a:xfrm>
            <a:off x="1644135" y="2992396"/>
            <a:ext cx="979957" cy="3076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/>
          <p:cNvSpPr/>
          <p:nvPr/>
        </p:nvSpPr>
        <p:spPr>
          <a:xfrm>
            <a:off x="53340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页</a:t>
            </a:r>
          </a:p>
        </p:txBody>
      </p:sp>
      <p:sp>
        <p:nvSpPr>
          <p:cNvPr id="19" name="矩形 18"/>
          <p:cNvSpPr/>
          <p:nvPr/>
        </p:nvSpPr>
        <p:spPr>
          <a:xfrm>
            <a:off x="2670690" y="152400"/>
            <a:ext cx="1066800" cy="304800"/>
          </a:xfrm>
          <a:prstGeom prst="rect">
            <a:avLst/>
          </a:prstGeom>
          <a:noFill/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菜单</a:t>
            </a:r>
          </a:p>
        </p:txBody>
      </p:sp>
      <p:sp>
        <p:nvSpPr>
          <p:cNvPr id="2" name="折角形 1"/>
          <p:cNvSpPr/>
          <p:nvPr/>
        </p:nvSpPr>
        <p:spPr>
          <a:xfrm>
            <a:off x="2624093" y="8382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主页</a:t>
            </a:r>
          </a:p>
        </p:txBody>
      </p:sp>
      <p:sp>
        <p:nvSpPr>
          <p:cNvPr id="35" name="折角形 34"/>
          <p:cNvSpPr/>
          <p:nvPr/>
        </p:nvSpPr>
        <p:spPr>
          <a:xfrm>
            <a:off x="2624092" y="2364100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运营</a:t>
            </a:r>
          </a:p>
        </p:txBody>
      </p:sp>
      <p:sp>
        <p:nvSpPr>
          <p:cNvPr id="36" name="折角形 35"/>
          <p:cNvSpPr/>
          <p:nvPr/>
        </p:nvSpPr>
        <p:spPr>
          <a:xfrm>
            <a:off x="2624093" y="38981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知识</a:t>
            </a:r>
          </a:p>
        </p:txBody>
      </p:sp>
      <p:sp>
        <p:nvSpPr>
          <p:cNvPr id="42" name="折角形 41"/>
          <p:cNvSpPr/>
          <p:nvPr/>
        </p:nvSpPr>
        <p:spPr>
          <a:xfrm>
            <a:off x="2624092" y="5424073"/>
            <a:ext cx="1033507" cy="129059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6C0D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02060"/>
                </a:solidFill>
              </a:rPr>
              <a:t>我的</a:t>
            </a:r>
          </a:p>
        </p:txBody>
      </p:sp>
      <p:cxnSp>
        <p:nvCxnSpPr>
          <p:cNvPr id="43" name="直接箭头连接符 42"/>
          <p:cNvCxnSpPr>
            <a:stCxn id="4" idx="3"/>
            <a:endCxn id="36" idx="1"/>
          </p:cNvCxnSpPr>
          <p:nvPr/>
        </p:nvCxnSpPr>
        <p:spPr>
          <a:xfrm>
            <a:off x="1644135" y="2992396"/>
            <a:ext cx="979958" cy="1551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4" idx="3"/>
            <a:endCxn id="35" idx="1"/>
          </p:cNvCxnSpPr>
          <p:nvPr/>
        </p:nvCxnSpPr>
        <p:spPr>
          <a:xfrm>
            <a:off x="1644135" y="2992396"/>
            <a:ext cx="979957" cy="17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172200" y="87868"/>
            <a:ext cx="1068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Option 4 </a:t>
            </a:r>
            <a:endParaRPr lang="zh-CN" altLang="en-US" b="1" dirty="0"/>
          </a:p>
        </p:txBody>
      </p:sp>
      <p:sp>
        <p:nvSpPr>
          <p:cNvPr id="31" name="等腰三角形 30"/>
          <p:cNvSpPr/>
          <p:nvPr/>
        </p:nvSpPr>
        <p:spPr>
          <a:xfrm rot="5400000">
            <a:off x="4191000" y="1371600"/>
            <a:ext cx="304800" cy="111897"/>
          </a:xfrm>
          <a:prstGeom prst="triangle">
            <a:avLst/>
          </a:prstGeom>
          <a:solidFill>
            <a:schemeClr val="accent6"/>
          </a:solidFill>
          <a:ln w="317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2060"/>
              </a:solidFill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8458200" y="3018922"/>
            <a:ext cx="819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待办事项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闻公告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endParaRPr lang="en-US" altLang="zh-CN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urvey</a:t>
            </a:r>
            <a:endParaRPr lang="zh-CN" altLang="en-US" sz="9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458199" y="4648200"/>
            <a:ext cx="1371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核心常用功能，可以进行拖拽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678" y="609600"/>
            <a:ext cx="3359904" cy="59761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215" y="609600"/>
            <a:ext cx="3354368" cy="5966303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0677" y="609600"/>
            <a:ext cx="3359905" cy="5976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309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rgbClr val="76C0D4"/>
          </a:solidFill>
          <a:prstDash val="dash"/>
        </a:ln>
      </a:spPr>
      <a:bodyPr rtlCol="0" anchor="ctr"/>
      <a:lstStyle>
        <a:defPPr>
          <a:defRPr sz="1400" b="1" dirty="0" smtClean="0">
            <a:solidFill>
              <a:srgbClr val="00206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02</TotalTime>
  <Words>605</Words>
  <Application>Microsoft Office PowerPoint</Application>
  <PresentationFormat>A4 纸张(210x297 毫米)</PresentationFormat>
  <Paragraphs>245</Paragraphs>
  <Slides>1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5" baseType="lpstr">
      <vt:lpstr>黑体</vt:lpstr>
      <vt:lpstr>宋体</vt:lpstr>
      <vt:lpstr>微软雅黑</vt:lpstr>
      <vt:lpstr>Arial</vt:lpstr>
      <vt:lpstr>Calibri</vt:lpstr>
      <vt:lpstr>1_Custom Design</vt:lpstr>
      <vt:lpstr>Custom Design</vt:lpstr>
      <vt:lpstr>3_Custom Design</vt:lpstr>
      <vt:lpstr>2_Custom Design</vt:lpstr>
      <vt:lpstr>Closing slides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u, Julie</dc:creator>
  <cp:lastModifiedBy>yo yo</cp:lastModifiedBy>
  <cp:revision>1774</cp:revision>
  <cp:lastPrinted>2015-09-08T04:34:02Z</cp:lastPrinted>
  <dcterms:created xsi:type="dcterms:W3CDTF">2006-08-16T00:00:00Z</dcterms:created>
  <dcterms:modified xsi:type="dcterms:W3CDTF">2016-05-04T02:51:53Z</dcterms:modified>
</cp:coreProperties>
</file>